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sldIdLst>
    <p:sldId id="257" r:id="rId6"/>
    <p:sldId id="274" r:id="rId7"/>
    <p:sldId id="275" r:id="rId8"/>
    <p:sldId id="260" r:id="rId9"/>
    <p:sldId id="277" r:id="rId10"/>
    <p:sldId id="276" r:id="rId11"/>
    <p:sldId id="278" r:id="rId12"/>
    <p:sldId id="280" r:id="rId13"/>
    <p:sldId id="279" r:id="rId14"/>
    <p:sldId id="281" r:id="rId15"/>
    <p:sldId id="283" r:id="rId16"/>
    <p:sldId id="282" r:id="rId17"/>
    <p:sldId id="284" r:id="rId18"/>
    <p:sldId id="285" r:id="rId19"/>
    <p:sldId id="286" r:id="rId20"/>
    <p:sldId id="289" r:id="rId21"/>
    <p:sldId id="287" r:id="rId22"/>
    <p:sldId id="290" r:id="rId23"/>
    <p:sldId id="291" r:id="rId24"/>
    <p:sldId id="288" r:id="rId25"/>
    <p:sldId id="292"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4B183"/>
    <a:srgbClr val="EC7320"/>
    <a:srgbClr val="E16815"/>
    <a:srgbClr val="C45A12"/>
    <a:srgbClr val="FFD966"/>
    <a:srgbClr val="F8CBAD"/>
    <a:srgbClr val="F29B60"/>
    <a:srgbClr val="F2A36E"/>
    <a:srgbClr val="00A4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77127" autoAdjust="0"/>
  </p:normalViewPr>
  <p:slideViewPr>
    <p:cSldViewPr snapToGrid="0">
      <p:cViewPr varScale="1">
        <p:scale>
          <a:sx n="54" d="100"/>
          <a:sy n="54" d="100"/>
        </p:scale>
        <p:origin x="33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5E0DD0-7580-4228-BE20-FE9ACE16376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1DDC8F4-43A3-4F52-B045-4D8E22AC255A}">
      <dgm:prSet phldrT="[Text]"/>
      <dgm:spPr>
        <a:solidFill>
          <a:srgbClr val="C00000"/>
        </a:solidFill>
        <a:ln>
          <a:noFill/>
        </a:ln>
      </dgm:spPr>
      <dgm:t>
        <a:bodyPr/>
        <a:lstStyle/>
        <a:p>
          <a:r>
            <a:rPr lang="en-US" b="0" i="0" dirty="0"/>
            <a:t>Frequent regression testing</a:t>
          </a:r>
          <a:endParaRPr lang="en-US" dirty="0"/>
        </a:p>
      </dgm:t>
    </dgm:pt>
    <dgm:pt modelId="{BA99E971-7625-454B-B0B6-6DAD847AAC0B}" type="parTrans" cxnId="{28A29551-928A-4AD5-B0B8-65EC0110420F}">
      <dgm:prSet/>
      <dgm:spPr/>
      <dgm:t>
        <a:bodyPr/>
        <a:lstStyle/>
        <a:p>
          <a:endParaRPr lang="en-US"/>
        </a:p>
      </dgm:t>
    </dgm:pt>
    <dgm:pt modelId="{D2F96B57-4D00-4B19-BEA9-6753F75BFB58}" type="sibTrans" cxnId="{28A29551-928A-4AD5-B0B8-65EC0110420F}">
      <dgm:prSet/>
      <dgm:spPr/>
      <dgm:t>
        <a:bodyPr/>
        <a:lstStyle/>
        <a:p>
          <a:endParaRPr lang="en-US"/>
        </a:p>
      </dgm:t>
    </dgm:pt>
    <dgm:pt modelId="{21C537C7-B19F-4080-A1C3-77EC94F5BBAB}">
      <dgm:prSet phldrT="[Text]"/>
      <dgm:spPr>
        <a:solidFill>
          <a:srgbClr val="FFC000"/>
        </a:solidFill>
        <a:ln>
          <a:noFill/>
        </a:ln>
      </dgm:spPr>
      <dgm:t>
        <a:bodyPr/>
        <a:lstStyle/>
        <a:p>
          <a:r>
            <a:rPr lang="en-US" b="0" i="0" dirty="0"/>
            <a:t>Rapid feedback to developers</a:t>
          </a:r>
          <a:endParaRPr lang="en-US" dirty="0"/>
        </a:p>
      </dgm:t>
    </dgm:pt>
    <dgm:pt modelId="{6625F26D-E780-40CA-9D72-0395653E47E7}" type="parTrans" cxnId="{7B7708B3-3D60-4404-AAB6-51F5F559B2E5}">
      <dgm:prSet/>
      <dgm:spPr/>
      <dgm:t>
        <a:bodyPr/>
        <a:lstStyle/>
        <a:p>
          <a:endParaRPr lang="en-US"/>
        </a:p>
      </dgm:t>
    </dgm:pt>
    <dgm:pt modelId="{818B563D-B51B-4666-8661-75FF7C730113}" type="sibTrans" cxnId="{7B7708B3-3D60-4404-AAB6-51F5F559B2E5}">
      <dgm:prSet/>
      <dgm:spPr/>
      <dgm:t>
        <a:bodyPr/>
        <a:lstStyle/>
        <a:p>
          <a:endParaRPr lang="en-US"/>
        </a:p>
      </dgm:t>
    </dgm:pt>
    <dgm:pt modelId="{92AC24ED-688F-405E-9127-6DE8A57B0F4F}">
      <dgm:prSet phldrT="[Text]"/>
      <dgm:spPr>
        <a:solidFill>
          <a:srgbClr val="00B050"/>
        </a:solidFill>
        <a:ln>
          <a:noFill/>
        </a:ln>
      </dgm:spPr>
      <dgm:t>
        <a:bodyPr/>
        <a:lstStyle/>
        <a:p>
          <a:r>
            <a:rPr lang="en-US" b="0" i="0" dirty="0"/>
            <a:t>Virtually unlimited iterations of test case execution</a:t>
          </a:r>
          <a:endParaRPr lang="en-US" dirty="0"/>
        </a:p>
      </dgm:t>
    </dgm:pt>
    <dgm:pt modelId="{F72A1151-CB75-4EE2-BAEA-AA80530CDC9C}" type="parTrans" cxnId="{5DB19845-BD5A-4CA8-98AA-27DFBD593CBB}">
      <dgm:prSet/>
      <dgm:spPr/>
      <dgm:t>
        <a:bodyPr/>
        <a:lstStyle/>
        <a:p>
          <a:endParaRPr lang="en-US"/>
        </a:p>
      </dgm:t>
    </dgm:pt>
    <dgm:pt modelId="{6E74BDC6-0B22-42BE-98BC-54774D7BA5C4}" type="sibTrans" cxnId="{5DB19845-BD5A-4CA8-98AA-27DFBD593CBB}">
      <dgm:prSet/>
      <dgm:spPr/>
      <dgm:t>
        <a:bodyPr/>
        <a:lstStyle/>
        <a:p>
          <a:endParaRPr lang="en-US"/>
        </a:p>
      </dgm:t>
    </dgm:pt>
    <dgm:pt modelId="{D7D96DD2-F767-44E1-B47A-8011A011282C}">
      <dgm:prSet phldrT="[Text]"/>
      <dgm:spPr>
        <a:solidFill>
          <a:srgbClr val="002060"/>
        </a:solidFill>
        <a:ln>
          <a:noFill/>
        </a:ln>
      </dgm:spPr>
      <dgm:t>
        <a:bodyPr/>
        <a:lstStyle/>
        <a:p>
          <a:r>
            <a:rPr lang="en-US" b="0" i="0" dirty="0"/>
            <a:t>Finding defects missed by manual testing</a:t>
          </a:r>
          <a:endParaRPr lang="en-US" dirty="0"/>
        </a:p>
      </dgm:t>
    </dgm:pt>
    <dgm:pt modelId="{8BB772BD-5095-4E6E-910C-D6A443FD0B4F}" type="parTrans" cxnId="{D17F140E-6023-47B7-8867-C20C881BD4E8}">
      <dgm:prSet/>
      <dgm:spPr/>
      <dgm:t>
        <a:bodyPr/>
        <a:lstStyle/>
        <a:p>
          <a:endParaRPr lang="en-US"/>
        </a:p>
      </dgm:t>
    </dgm:pt>
    <dgm:pt modelId="{85CE8271-EC63-4580-9777-9DCFDC80A986}" type="sibTrans" cxnId="{D17F140E-6023-47B7-8867-C20C881BD4E8}">
      <dgm:prSet/>
      <dgm:spPr/>
      <dgm:t>
        <a:bodyPr/>
        <a:lstStyle/>
        <a:p>
          <a:endParaRPr lang="en-US"/>
        </a:p>
      </dgm:t>
    </dgm:pt>
    <dgm:pt modelId="{7E8565DC-F2DF-49D5-8D8A-3539AF670274}">
      <dgm:prSet phldrT="[Text]"/>
      <dgm:spPr>
        <a:solidFill>
          <a:srgbClr val="2E75B6"/>
        </a:solidFill>
        <a:ln>
          <a:noFill/>
        </a:ln>
      </dgm:spPr>
      <dgm:t>
        <a:bodyPr/>
        <a:lstStyle/>
        <a:p>
          <a:r>
            <a:rPr lang="en-US" dirty="0"/>
            <a:t> </a:t>
          </a:r>
        </a:p>
      </dgm:t>
    </dgm:pt>
    <dgm:pt modelId="{9090207B-3A81-425C-AAE3-5649D464B437}" type="sibTrans" cxnId="{C7DB5AAF-4AD8-4342-908E-89881E014270}">
      <dgm:prSet/>
      <dgm:spPr/>
      <dgm:t>
        <a:bodyPr/>
        <a:lstStyle/>
        <a:p>
          <a:endParaRPr lang="en-US"/>
        </a:p>
      </dgm:t>
    </dgm:pt>
    <dgm:pt modelId="{1728A87F-3F47-42D0-B829-7245BCB9E186}" type="parTrans" cxnId="{C7DB5AAF-4AD8-4342-908E-89881E014270}">
      <dgm:prSet/>
      <dgm:spPr/>
      <dgm:t>
        <a:bodyPr/>
        <a:lstStyle/>
        <a:p>
          <a:endParaRPr lang="en-US"/>
        </a:p>
      </dgm:t>
    </dgm:pt>
    <dgm:pt modelId="{6E2949AB-EF89-435E-AF82-BC48BC532BCE}" type="pres">
      <dgm:prSet presAssocID="{7E5E0DD0-7580-4228-BE20-FE9ACE16376D}" presName="diagram" presStyleCnt="0">
        <dgm:presLayoutVars>
          <dgm:chMax val="1"/>
          <dgm:dir/>
          <dgm:animLvl val="ctr"/>
          <dgm:resizeHandles val="exact"/>
        </dgm:presLayoutVars>
      </dgm:prSet>
      <dgm:spPr/>
    </dgm:pt>
    <dgm:pt modelId="{B0D61D9F-90CD-4126-B9D1-D9335D763753}" type="pres">
      <dgm:prSet presAssocID="{7E5E0DD0-7580-4228-BE20-FE9ACE16376D}" presName="matrix" presStyleCnt="0"/>
      <dgm:spPr/>
    </dgm:pt>
    <dgm:pt modelId="{838F984C-D8DE-4013-983F-475FFC712030}" type="pres">
      <dgm:prSet presAssocID="{7E5E0DD0-7580-4228-BE20-FE9ACE16376D}" presName="tile1" presStyleLbl="node1" presStyleIdx="0" presStyleCnt="4"/>
      <dgm:spPr/>
    </dgm:pt>
    <dgm:pt modelId="{C23E86DE-25E6-4B84-A7DF-B10462CC2BEF}" type="pres">
      <dgm:prSet presAssocID="{7E5E0DD0-7580-4228-BE20-FE9ACE16376D}" presName="tile1text" presStyleLbl="node1" presStyleIdx="0" presStyleCnt="4">
        <dgm:presLayoutVars>
          <dgm:chMax val="0"/>
          <dgm:chPref val="0"/>
          <dgm:bulletEnabled val="1"/>
        </dgm:presLayoutVars>
      </dgm:prSet>
      <dgm:spPr/>
    </dgm:pt>
    <dgm:pt modelId="{0A37FEDA-6266-4E60-BF79-FC689FEF1EF4}" type="pres">
      <dgm:prSet presAssocID="{7E5E0DD0-7580-4228-BE20-FE9ACE16376D}" presName="tile2" presStyleLbl="node1" presStyleIdx="1" presStyleCnt="4"/>
      <dgm:spPr/>
    </dgm:pt>
    <dgm:pt modelId="{A3774AAA-D21E-4F82-94FD-741A716D12FC}" type="pres">
      <dgm:prSet presAssocID="{7E5E0DD0-7580-4228-BE20-FE9ACE16376D}" presName="tile2text" presStyleLbl="node1" presStyleIdx="1" presStyleCnt="4">
        <dgm:presLayoutVars>
          <dgm:chMax val="0"/>
          <dgm:chPref val="0"/>
          <dgm:bulletEnabled val="1"/>
        </dgm:presLayoutVars>
      </dgm:prSet>
      <dgm:spPr/>
    </dgm:pt>
    <dgm:pt modelId="{791099EC-C976-4D4E-AD11-1679A81D128D}" type="pres">
      <dgm:prSet presAssocID="{7E5E0DD0-7580-4228-BE20-FE9ACE16376D}" presName="tile3" presStyleLbl="node1" presStyleIdx="2" presStyleCnt="4"/>
      <dgm:spPr/>
    </dgm:pt>
    <dgm:pt modelId="{4ED5F596-49B0-4704-8113-2CA148B62833}" type="pres">
      <dgm:prSet presAssocID="{7E5E0DD0-7580-4228-BE20-FE9ACE16376D}" presName="tile3text" presStyleLbl="node1" presStyleIdx="2" presStyleCnt="4">
        <dgm:presLayoutVars>
          <dgm:chMax val="0"/>
          <dgm:chPref val="0"/>
          <dgm:bulletEnabled val="1"/>
        </dgm:presLayoutVars>
      </dgm:prSet>
      <dgm:spPr/>
    </dgm:pt>
    <dgm:pt modelId="{9AC5FAB6-BBC5-4727-AADA-5695596274E9}" type="pres">
      <dgm:prSet presAssocID="{7E5E0DD0-7580-4228-BE20-FE9ACE16376D}" presName="tile4" presStyleLbl="node1" presStyleIdx="3" presStyleCnt="4"/>
      <dgm:spPr/>
    </dgm:pt>
    <dgm:pt modelId="{4E80D56E-D739-4DA9-A269-5EE373DFEB51}" type="pres">
      <dgm:prSet presAssocID="{7E5E0DD0-7580-4228-BE20-FE9ACE16376D}" presName="tile4text" presStyleLbl="node1" presStyleIdx="3" presStyleCnt="4">
        <dgm:presLayoutVars>
          <dgm:chMax val="0"/>
          <dgm:chPref val="0"/>
          <dgm:bulletEnabled val="1"/>
        </dgm:presLayoutVars>
      </dgm:prSet>
      <dgm:spPr/>
    </dgm:pt>
    <dgm:pt modelId="{D48EF8BF-5324-4D64-817E-F91EC1DCBAEF}" type="pres">
      <dgm:prSet presAssocID="{7E5E0DD0-7580-4228-BE20-FE9ACE16376D}" presName="centerTile" presStyleLbl="fgShp" presStyleIdx="0" presStyleCnt="1" custScaleY="143839">
        <dgm:presLayoutVars>
          <dgm:chMax val="0"/>
          <dgm:chPref val="0"/>
        </dgm:presLayoutVars>
      </dgm:prSet>
      <dgm:spPr/>
    </dgm:pt>
  </dgm:ptLst>
  <dgm:cxnLst>
    <dgm:cxn modelId="{D17F140E-6023-47B7-8867-C20C881BD4E8}" srcId="{7E8565DC-F2DF-49D5-8D8A-3539AF670274}" destId="{D7D96DD2-F767-44E1-B47A-8011A011282C}" srcOrd="3" destOrd="0" parTransId="{8BB772BD-5095-4E6E-910C-D6A443FD0B4F}" sibTransId="{85CE8271-EC63-4580-9777-9DCFDC80A986}"/>
    <dgm:cxn modelId="{EE848211-7AD0-4159-BEB9-6D3A10225A23}" type="presOf" srcId="{92AC24ED-688F-405E-9127-6DE8A57B0F4F}" destId="{791099EC-C976-4D4E-AD11-1679A81D128D}" srcOrd="0" destOrd="0" presId="urn:microsoft.com/office/officeart/2005/8/layout/matrix1"/>
    <dgm:cxn modelId="{C1959E5C-0516-4FE7-9D61-D8D9994A35A7}" type="presOf" srcId="{7E5E0DD0-7580-4228-BE20-FE9ACE16376D}" destId="{6E2949AB-EF89-435E-AF82-BC48BC532BCE}" srcOrd="0" destOrd="0" presId="urn:microsoft.com/office/officeart/2005/8/layout/matrix1"/>
    <dgm:cxn modelId="{5DB19845-BD5A-4CA8-98AA-27DFBD593CBB}" srcId="{7E8565DC-F2DF-49D5-8D8A-3539AF670274}" destId="{92AC24ED-688F-405E-9127-6DE8A57B0F4F}" srcOrd="2" destOrd="0" parTransId="{F72A1151-CB75-4EE2-BAEA-AA80530CDC9C}" sibTransId="{6E74BDC6-0B22-42BE-98BC-54774D7BA5C4}"/>
    <dgm:cxn modelId="{B918656A-5E47-45F8-AF43-1D0B7B6E7267}" type="presOf" srcId="{21C537C7-B19F-4080-A1C3-77EC94F5BBAB}" destId="{A3774AAA-D21E-4F82-94FD-741A716D12FC}" srcOrd="1" destOrd="0" presId="urn:microsoft.com/office/officeart/2005/8/layout/matrix1"/>
    <dgm:cxn modelId="{64120B6C-6022-45CF-A414-6811D734DD2D}" type="presOf" srcId="{21C537C7-B19F-4080-A1C3-77EC94F5BBAB}" destId="{0A37FEDA-6266-4E60-BF79-FC689FEF1EF4}" srcOrd="0" destOrd="0" presId="urn:microsoft.com/office/officeart/2005/8/layout/matrix1"/>
    <dgm:cxn modelId="{BE01804D-9C99-4C9C-A65A-D2CC1C9397D9}" type="presOf" srcId="{92AC24ED-688F-405E-9127-6DE8A57B0F4F}" destId="{4ED5F596-49B0-4704-8113-2CA148B62833}" srcOrd="1" destOrd="0" presId="urn:microsoft.com/office/officeart/2005/8/layout/matrix1"/>
    <dgm:cxn modelId="{28A29551-928A-4AD5-B0B8-65EC0110420F}" srcId="{7E8565DC-F2DF-49D5-8D8A-3539AF670274}" destId="{E1DDC8F4-43A3-4F52-B045-4D8E22AC255A}" srcOrd="0" destOrd="0" parTransId="{BA99E971-7625-454B-B0B6-6DAD847AAC0B}" sibTransId="{D2F96B57-4D00-4B19-BEA9-6753F75BFB58}"/>
    <dgm:cxn modelId="{50381A91-20AE-49D2-BA24-33402E061AE6}" type="presOf" srcId="{D7D96DD2-F767-44E1-B47A-8011A011282C}" destId="{9AC5FAB6-BBC5-4727-AADA-5695596274E9}" srcOrd="0" destOrd="0" presId="urn:microsoft.com/office/officeart/2005/8/layout/matrix1"/>
    <dgm:cxn modelId="{D60FBB96-FD68-4AFB-B5AC-63790CA091FB}" type="presOf" srcId="{D7D96DD2-F767-44E1-B47A-8011A011282C}" destId="{4E80D56E-D739-4DA9-A269-5EE373DFEB51}" srcOrd="1" destOrd="0" presId="urn:microsoft.com/office/officeart/2005/8/layout/matrix1"/>
    <dgm:cxn modelId="{76D789A8-1349-4E37-86A8-2CFF9B26861C}" type="presOf" srcId="{7E8565DC-F2DF-49D5-8D8A-3539AF670274}" destId="{D48EF8BF-5324-4D64-817E-F91EC1DCBAEF}" srcOrd="0" destOrd="0" presId="urn:microsoft.com/office/officeart/2005/8/layout/matrix1"/>
    <dgm:cxn modelId="{C7DB5AAF-4AD8-4342-908E-89881E014270}" srcId="{7E5E0DD0-7580-4228-BE20-FE9ACE16376D}" destId="{7E8565DC-F2DF-49D5-8D8A-3539AF670274}" srcOrd="0" destOrd="0" parTransId="{1728A87F-3F47-42D0-B829-7245BCB9E186}" sibTransId="{9090207B-3A81-425C-AAE3-5649D464B437}"/>
    <dgm:cxn modelId="{7B7708B3-3D60-4404-AAB6-51F5F559B2E5}" srcId="{7E8565DC-F2DF-49D5-8D8A-3539AF670274}" destId="{21C537C7-B19F-4080-A1C3-77EC94F5BBAB}" srcOrd="1" destOrd="0" parTransId="{6625F26D-E780-40CA-9D72-0395653E47E7}" sibTransId="{818B563D-B51B-4666-8661-75FF7C730113}"/>
    <dgm:cxn modelId="{D8A817C1-2207-43D0-81C8-7C682D76E56E}" type="presOf" srcId="{E1DDC8F4-43A3-4F52-B045-4D8E22AC255A}" destId="{C23E86DE-25E6-4B84-A7DF-B10462CC2BEF}" srcOrd="1" destOrd="0" presId="urn:microsoft.com/office/officeart/2005/8/layout/matrix1"/>
    <dgm:cxn modelId="{881E7CFA-FBE9-426F-A281-1208C2998AAB}" type="presOf" srcId="{E1DDC8F4-43A3-4F52-B045-4D8E22AC255A}" destId="{838F984C-D8DE-4013-983F-475FFC712030}" srcOrd="0" destOrd="0" presId="urn:microsoft.com/office/officeart/2005/8/layout/matrix1"/>
    <dgm:cxn modelId="{448198A5-D8E7-470A-8807-3BF89713C011}" type="presParOf" srcId="{6E2949AB-EF89-435E-AF82-BC48BC532BCE}" destId="{B0D61D9F-90CD-4126-B9D1-D9335D763753}" srcOrd="0" destOrd="0" presId="urn:microsoft.com/office/officeart/2005/8/layout/matrix1"/>
    <dgm:cxn modelId="{98FBA2D0-3524-4BCE-A417-60434C109EE0}" type="presParOf" srcId="{B0D61D9F-90CD-4126-B9D1-D9335D763753}" destId="{838F984C-D8DE-4013-983F-475FFC712030}" srcOrd="0" destOrd="0" presId="urn:microsoft.com/office/officeart/2005/8/layout/matrix1"/>
    <dgm:cxn modelId="{1CC222AD-7A3D-4CA1-9BCA-BF7AFC6A10E4}" type="presParOf" srcId="{B0D61D9F-90CD-4126-B9D1-D9335D763753}" destId="{C23E86DE-25E6-4B84-A7DF-B10462CC2BEF}" srcOrd="1" destOrd="0" presId="urn:microsoft.com/office/officeart/2005/8/layout/matrix1"/>
    <dgm:cxn modelId="{AEAE0B67-BA22-4E2B-A04C-753B17804CBB}" type="presParOf" srcId="{B0D61D9F-90CD-4126-B9D1-D9335D763753}" destId="{0A37FEDA-6266-4E60-BF79-FC689FEF1EF4}" srcOrd="2" destOrd="0" presId="urn:microsoft.com/office/officeart/2005/8/layout/matrix1"/>
    <dgm:cxn modelId="{3FBEA2B1-F243-4B7A-89FB-8CC9CA5AE24C}" type="presParOf" srcId="{B0D61D9F-90CD-4126-B9D1-D9335D763753}" destId="{A3774AAA-D21E-4F82-94FD-741A716D12FC}" srcOrd="3" destOrd="0" presId="urn:microsoft.com/office/officeart/2005/8/layout/matrix1"/>
    <dgm:cxn modelId="{FBCEE94D-2648-49BE-9B1B-63CB07296FD1}" type="presParOf" srcId="{B0D61D9F-90CD-4126-B9D1-D9335D763753}" destId="{791099EC-C976-4D4E-AD11-1679A81D128D}" srcOrd="4" destOrd="0" presId="urn:microsoft.com/office/officeart/2005/8/layout/matrix1"/>
    <dgm:cxn modelId="{588DF6D7-A94F-4043-B7C9-FFDF85E56C7D}" type="presParOf" srcId="{B0D61D9F-90CD-4126-B9D1-D9335D763753}" destId="{4ED5F596-49B0-4704-8113-2CA148B62833}" srcOrd="5" destOrd="0" presId="urn:microsoft.com/office/officeart/2005/8/layout/matrix1"/>
    <dgm:cxn modelId="{90CF5659-2D23-4CC8-8B85-9AF58EDC298B}" type="presParOf" srcId="{B0D61D9F-90CD-4126-B9D1-D9335D763753}" destId="{9AC5FAB6-BBC5-4727-AADA-5695596274E9}" srcOrd="6" destOrd="0" presId="urn:microsoft.com/office/officeart/2005/8/layout/matrix1"/>
    <dgm:cxn modelId="{B546FE6D-3182-4D44-94B2-31B8C80139C8}" type="presParOf" srcId="{B0D61D9F-90CD-4126-B9D1-D9335D763753}" destId="{4E80D56E-D739-4DA9-A269-5EE373DFEB51}" srcOrd="7" destOrd="0" presId="urn:microsoft.com/office/officeart/2005/8/layout/matrix1"/>
    <dgm:cxn modelId="{736FF5F6-A832-4519-B7AB-664AA5C20C87}" type="presParOf" srcId="{6E2949AB-EF89-435E-AF82-BC48BC532BCE}" destId="{D48EF8BF-5324-4D64-817E-F91EC1DCBAEF}"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3B4E16-78FB-45D1-A88E-3BD053A68B4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05B1D4AB-D8D5-42DD-B50D-AB9D7BFEFC2E}">
      <dgm:prSet phldrT="[Text]" custT="1"/>
      <dgm:spPr>
        <a:xfrm>
          <a:off x="126999" y="1889125"/>
          <a:ext cx="3280833" cy="1640416"/>
        </a:xfrm>
        <a:prstGeom prst="roundRect">
          <a:avLst>
            <a:gd name="adj" fmla="val 10000"/>
          </a:avLst>
        </a:prstGeom>
        <a:solidFill>
          <a:sysClr val="windowText" lastClr="000000"/>
        </a:solidFill>
        <a:ln w="12700" cap="flat" cmpd="sng" algn="ctr">
          <a:noFill/>
          <a:prstDash val="solid"/>
          <a:miter lim="800000"/>
        </a:ln>
        <a:effectLst/>
      </dgm:spPr>
      <dgm:t>
        <a:bodyPr/>
        <a:lstStyle/>
        <a:p>
          <a:pPr>
            <a:buNone/>
          </a:pPr>
          <a:r>
            <a:rPr lang="en-US" sz="4000" b="1" dirty="0">
              <a:solidFill>
                <a:srgbClr val="FFC000"/>
              </a:solidFill>
              <a:latin typeface="Calibri" panose="020F0502020204030204"/>
              <a:ea typeface="+mn-ea"/>
              <a:cs typeface="+mn-cs"/>
            </a:rPr>
            <a:t>Selenium Suite</a:t>
          </a:r>
        </a:p>
      </dgm:t>
    </dgm:pt>
    <dgm:pt modelId="{4C0852D2-7B24-4983-BAF9-0B44788AF047}" type="parTrans" cxnId="{4D46A001-0CB0-4327-B601-82EDFE56F6B5}">
      <dgm:prSet/>
      <dgm:spPr/>
      <dgm:t>
        <a:bodyPr/>
        <a:lstStyle/>
        <a:p>
          <a:endParaRPr lang="en-US"/>
        </a:p>
      </dgm:t>
    </dgm:pt>
    <dgm:pt modelId="{F47CC933-D3E0-4D0C-89C3-4172242B9834}" type="sibTrans" cxnId="{4D46A001-0CB0-4327-B601-82EDFE56F6B5}">
      <dgm:prSet/>
      <dgm:spPr/>
      <dgm:t>
        <a:bodyPr/>
        <a:lstStyle/>
        <a:p>
          <a:endParaRPr lang="en-US"/>
        </a:p>
      </dgm:t>
    </dgm:pt>
    <dgm:pt modelId="{6D1CFF49-8BA6-4ED8-9259-B0284A66F721}">
      <dgm:prSet phldrT="[Text]" custT="1"/>
      <dgm:spPr>
        <a:xfrm>
          <a:off x="4167707" y="2645"/>
          <a:ext cx="3280833" cy="1640416"/>
        </a:xfrm>
        <a:prstGeom prst="roundRect">
          <a:avLst>
            <a:gd name="adj" fmla="val 10000"/>
          </a:avLst>
        </a:prstGeom>
        <a:solidFill>
          <a:srgbClr val="FFC000"/>
        </a:solidFill>
        <a:ln w="12700" cap="flat" cmpd="sng" algn="ctr">
          <a:noFill/>
          <a:prstDash val="solid"/>
          <a:miter lim="800000"/>
        </a:ln>
        <a:effectLst/>
      </dgm:spPr>
      <dgm:t>
        <a:bodyPr/>
        <a:lstStyle/>
        <a:p>
          <a:pPr>
            <a:buNone/>
          </a:pPr>
          <a:r>
            <a:rPr lang="en-US" sz="4000" dirty="0">
              <a:solidFill>
                <a:sysClr val="windowText" lastClr="000000"/>
              </a:solidFill>
              <a:latin typeface="+mn-lt"/>
              <a:ea typeface="+mn-ea"/>
              <a:cs typeface="Andalus" panose="02020603050405020304" pitchFamily="18" charset="-78"/>
            </a:rPr>
            <a:t>Selenium IDE</a:t>
          </a:r>
        </a:p>
      </dgm:t>
    </dgm:pt>
    <dgm:pt modelId="{09DB1E86-B142-4A2F-BB8C-4F96F4F69EC2}" type="parTrans" cxnId="{8494AFBC-D440-4E07-9E21-65A0BE3930BE}">
      <dgm:prSet/>
      <dgm:spPr>
        <a:xfrm rot="17516375">
          <a:off x="2770886" y="1738847"/>
          <a:ext cx="2033768" cy="54492"/>
        </a:xfrm>
        <a:custGeom>
          <a:avLst/>
          <a:gdLst/>
          <a:ahLst/>
          <a:cxnLst/>
          <a:rect l="0" t="0" r="0" b="0"/>
          <a:pathLst>
            <a:path>
              <a:moveTo>
                <a:pt x="0" y="27246"/>
              </a:moveTo>
              <a:lnTo>
                <a:pt x="2033768" y="27246"/>
              </a:lnTo>
            </a:path>
          </a:pathLst>
        </a:custGeom>
        <a:noFill/>
        <a:ln w="50800" cap="rnd" cmpd="sng" algn="ctr">
          <a:solidFill>
            <a:sysClr val="window" lastClr="FFFFFF"/>
          </a:solidFill>
          <a:prstDash val="solid"/>
          <a:miter lim="800000"/>
        </a:ln>
        <a:effectLst/>
      </dgm:spPr>
      <dgm:t>
        <a:bodyPr/>
        <a:lstStyle/>
        <a:p>
          <a:pPr>
            <a:buNone/>
          </a:pPr>
          <a:endParaRPr lang="en-US">
            <a:solidFill>
              <a:sysClr val="windowText" lastClr="000000">
                <a:hueOff val="0"/>
                <a:satOff val="0"/>
                <a:lumOff val="0"/>
                <a:alphaOff val="0"/>
              </a:sysClr>
            </a:solidFill>
            <a:latin typeface="Calibri" panose="020F0502020204030204"/>
            <a:ea typeface="+mn-ea"/>
            <a:cs typeface="+mn-cs"/>
          </a:endParaRPr>
        </a:p>
      </dgm:t>
    </dgm:pt>
    <dgm:pt modelId="{4B96D7F2-CDB5-4B96-9BBC-1508B43C1615}" type="sibTrans" cxnId="{8494AFBC-D440-4E07-9E21-65A0BE3930BE}">
      <dgm:prSet/>
      <dgm:spPr/>
      <dgm:t>
        <a:bodyPr/>
        <a:lstStyle/>
        <a:p>
          <a:endParaRPr lang="en-US"/>
        </a:p>
      </dgm:t>
    </dgm:pt>
    <dgm:pt modelId="{DBE1F6DC-394F-48C4-9E25-711E3A294F9C}">
      <dgm:prSet phldrT="[Text]" custT="1"/>
      <dgm:spPr>
        <a:xfrm>
          <a:off x="4167707" y="1889125"/>
          <a:ext cx="3280833" cy="1640416"/>
        </a:xfrm>
        <a:prstGeom prst="roundRect">
          <a:avLst>
            <a:gd name="adj" fmla="val 10000"/>
          </a:avLst>
        </a:prstGeom>
        <a:solidFill>
          <a:srgbClr val="FFC000"/>
        </a:solidFill>
        <a:ln w="12700" cap="flat" cmpd="sng" algn="ctr">
          <a:noFill/>
          <a:prstDash val="solid"/>
          <a:miter lim="800000"/>
        </a:ln>
        <a:effectLst/>
      </dgm:spPr>
      <dgm:t>
        <a:bodyPr/>
        <a:lstStyle/>
        <a:p>
          <a:pPr>
            <a:buNone/>
          </a:pPr>
          <a:r>
            <a:rPr lang="en-US" sz="3200" dirty="0">
              <a:solidFill>
                <a:sysClr val="windowText" lastClr="000000"/>
              </a:solidFill>
              <a:latin typeface="+mn-lt"/>
              <a:ea typeface="+mn-ea"/>
              <a:cs typeface="Andalus" panose="02020603050405020304" pitchFamily="18" charset="-78"/>
            </a:rPr>
            <a:t>Selenium 2 (Webdriver &amp; RC)</a:t>
          </a:r>
        </a:p>
      </dgm:t>
    </dgm:pt>
    <dgm:pt modelId="{C21D25F9-4463-4F13-AA0B-6E55EA8FEC5C}" type="parTrans" cxnId="{1D7C8064-5731-43CE-9965-1D9A6A582DFD}">
      <dgm:prSet/>
      <dgm:spPr>
        <a:xfrm>
          <a:off x="3407833" y="2682087"/>
          <a:ext cx="759873" cy="54492"/>
        </a:xfrm>
        <a:custGeom>
          <a:avLst/>
          <a:gdLst/>
          <a:ahLst/>
          <a:cxnLst/>
          <a:rect l="0" t="0" r="0" b="0"/>
          <a:pathLst>
            <a:path>
              <a:moveTo>
                <a:pt x="0" y="27246"/>
              </a:moveTo>
              <a:lnTo>
                <a:pt x="759873" y="27246"/>
              </a:lnTo>
            </a:path>
          </a:pathLst>
        </a:custGeom>
        <a:noFill/>
        <a:ln w="50800" cap="rnd" cmpd="sng" algn="ctr">
          <a:solidFill>
            <a:sysClr val="window" lastClr="FFFFFF"/>
          </a:solidFill>
          <a:prstDash val="solid"/>
          <a:miter lim="800000"/>
        </a:ln>
        <a:effectLst/>
      </dgm:spPr>
      <dgm:t>
        <a:bodyPr/>
        <a:lstStyle/>
        <a:p>
          <a:pPr>
            <a:buNone/>
          </a:pPr>
          <a:endParaRPr lang="en-US">
            <a:solidFill>
              <a:sysClr val="windowText" lastClr="000000">
                <a:hueOff val="0"/>
                <a:satOff val="0"/>
                <a:lumOff val="0"/>
                <a:alphaOff val="0"/>
              </a:sysClr>
            </a:solidFill>
            <a:latin typeface="Calibri" panose="020F0502020204030204"/>
            <a:ea typeface="+mn-ea"/>
            <a:cs typeface="+mn-cs"/>
          </a:endParaRPr>
        </a:p>
      </dgm:t>
    </dgm:pt>
    <dgm:pt modelId="{E952B0D3-9C35-4AC6-815E-821ADA6F2BD4}" type="sibTrans" cxnId="{1D7C8064-5731-43CE-9965-1D9A6A582DFD}">
      <dgm:prSet/>
      <dgm:spPr/>
      <dgm:t>
        <a:bodyPr/>
        <a:lstStyle/>
        <a:p>
          <a:endParaRPr lang="en-US"/>
        </a:p>
      </dgm:t>
    </dgm:pt>
    <dgm:pt modelId="{C3483E22-81F5-4DFB-845F-08E7F82859B3}">
      <dgm:prSet phldrT="[Text]" custT="1"/>
      <dgm:spPr>
        <a:xfrm>
          <a:off x="4167707" y="3775604"/>
          <a:ext cx="3280833" cy="1640416"/>
        </a:xfrm>
        <a:prstGeom prst="roundRect">
          <a:avLst>
            <a:gd name="adj" fmla="val 10000"/>
          </a:avLst>
        </a:prstGeom>
        <a:solidFill>
          <a:srgbClr val="FFC000"/>
        </a:solidFill>
        <a:ln w="12700" cap="flat" cmpd="sng" algn="ctr">
          <a:noFill/>
          <a:prstDash val="solid"/>
          <a:miter lim="800000"/>
        </a:ln>
        <a:effectLst/>
      </dgm:spPr>
      <dgm:t>
        <a:bodyPr/>
        <a:lstStyle/>
        <a:p>
          <a:pPr>
            <a:buNone/>
          </a:pPr>
          <a:r>
            <a:rPr lang="en-US" sz="4000" dirty="0">
              <a:solidFill>
                <a:sysClr val="windowText" lastClr="000000"/>
              </a:solidFill>
              <a:latin typeface="+mn-lt"/>
              <a:ea typeface="+mn-ea"/>
              <a:cs typeface="Andalus" panose="02020603050405020304" pitchFamily="18" charset="-78"/>
            </a:rPr>
            <a:t>Selenium Grid</a:t>
          </a:r>
        </a:p>
      </dgm:t>
    </dgm:pt>
    <dgm:pt modelId="{C8D11AC7-BD93-4C31-9538-2064A1E3E4A7}" type="parTrans" cxnId="{2C598D2D-56CB-40F3-9F2A-C734514796BD}">
      <dgm:prSet/>
      <dgm:spPr>
        <a:xfrm rot="4083625">
          <a:off x="2770886" y="3625327"/>
          <a:ext cx="2033768" cy="54492"/>
        </a:xfrm>
        <a:custGeom>
          <a:avLst/>
          <a:gdLst/>
          <a:ahLst/>
          <a:cxnLst/>
          <a:rect l="0" t="0" r="0" b="0"/>
          <a:pathLst>
            <a:path>
              <a:moveTo>
                <a:pt x="0" y="27246"/>
              </a:moveTo>
              <a:lnTo>
                <a:pt x="2033768" y="27246"/>
              </a:lnTo>
            </a:path>
          </a:pathLst>
        </a:custGeom>
        <a:noFill/>
        <a:ln w="50800" cap="rnd" cmpd="sng" algn="ctr">
          <a:solidFill>
            <a:sysClr val="window" lastClr="FFFFFF"/>
          </a:solidFill>
          <a:prstDash val="solid"/>
          <a:miter lim="800000"/>
        </a:ln>
        <a:effectLst/>
      </dgm:spPr>
      <dgm:t>
        <a:bodyPr/>
        <a:lstStyle/>
        <a:p>
          <a:pPr>
            <a:buNone/>
          </a:pPr>
          <a:endParaRPr lang="en-US">
            <a:solidFill>
              <a:sysClr val="windowText" lastClr="000000">
                <a:hueOff val="0"/>
                <a:satOff val="0"/>
                <a:lumOff val="0"/>
                <a:alphaOff val="0"/>
              </a:sysClr>
            </a:solidFill>
            <a:latin typeface="Calibri" panose="020F0502020204030204"/>
            <a:ea typeface="+mn-ea"/>
            <a:cs typeface="+mn-cs"/>
          </a:endParaRPr>
        </a:p>
      </dgm:t>
    </dgm:pt>
    <dgm:pt modelId="{53D4A9F3-7035-4522-8040-98A46EF80E44}" type="sibTrans" cxnId="{2C598D2D-56CB-40F3-9F2A-C734514796BD}">
      <dgm:prSet/>
      <dgm:spPr/>
      <dgm:t>
        <a:bodyPr/>
        <a:lstStyle/>
        <a:p>
          <a:endParaRPr lang="en-US"/>
        </a:p>
      </dgm:t>
    </dgm:pt>
    <dgm:pt modelId="{ACBDF684-A446-4BAC-955B-9CF528FEAEA0}" type="pres">
      <dgm:prSet presAssocID="{C23B4E16-78FB-45D1-A88E-3BD053A68B4C}" presName="diagram" presStyleCnt="0">
        <dgm:presLayoutVars>
          <dgm:chPref val="1"/>
          <dgm:dir/>
          <dgm:animOne val="branch"/>
          <dgm:animLvl val="lvl"/>
          <dgm:resizeHandles val="exact"/>
        </dgm:presLayoutVars>
      </dgm:prSet>
      <dgm:spPr/>
    </dgm:pt>
    <dgm:pt modelId="{C3BCF661-C0A3-45C8-B052-45E5792FC1E2}" type="pres">
      <dgm:prSet presAssocID="{05B1D4AB-D8D5-42DD-B50D-AB9D7BFEFC2E}" presName="root1" presStyleCnt="0"/>
      <dgm:spPr/>
    </dgm:pt>
    <dgm:pt modelId="{0395DBC6-28BE-43A4-BF5A-62ACB51729EE}" type="pres">
      <dgm:prSet presAssocID="{05B1D4AB-D8D5-42DD-B50D-AB9D7BFEFC2E}" presName="LevelOneTextNode" presStyleLbl="node0" presStyleIdx="0" presStyleCnt="1">
        <dgm:presLayoutVars>
          <dgm:chPref val="3"/>
        </dgm:presLayoutVars>
      </dgm:prSet>
      <dgm:spPr/>
    </dgm:pt>
    <dgm:pt modelId="{14E067B4-8A8D-44D0-88DE-4622971A071F}" type="pres">
      <dgm:prSet presAssocID="{05B1D4AB-D8D5-42DD-B50D-AB9D7BFEFC2E}" presName="level2hierChild" presStyleCnt="0"/>
      <dgm:spPr/>
    </dgm:pt>
    <dgm:pt modelId="{82B365B3-F0B6-46A4-BE8C-0FF0D41CA157}" type="pres">
      <dgm:prSet presAssocID="{09DB1E86-B142-4A2F-BB8C-4F96F4F69EC2}" presName="conn2-1" presStyleLbl="parChTrans1D2" presStyleIdx="0" presStyleCnt="3"/>
      <dgm:spPr/>
    </dgm:pt>
    <dgm:pt modelId="{0EC86ABA-A869-4B73-82DB-3A5E7B83E0ED}" type="pres">
      <dgm:prSet presAssocID="{09DB1E86-B142-4A2F-BB8C-4F96F4F69EC2}" presName="connTx" presStyleLbl="parChTrans1D2" presStyleIdx="0" presStyleCnt="3"/>
      <dgm:spPr/>
    </dgm:pt>
    <dgm:pt modelId="{9350005D-EFB7-40E1-8686-B26A3E9CF699}" type="pres">
      <dgm:prSet presAssocID="{6D1CFF49-8BA6-4ED8-9259-B0284A66F721}" presName="root2" presStyleCnt="0"/>
      <dgm:spPr/>
    </dgm:pt>
    <dgm:pt modelId="{6548856A-4102-410D-961C-DDD5763EB351}" type="pres">
      <dgm:prSet presAssocID="{6D1CFF49-8BA6-4ED8-9259-B0284A66F721}" presName="LevelTwoTextNode" presStyleLbl="node2" presStyleIdx="0" presStyleCnt="3" custLinFactNeighborX="-16839">
        <dgm:presLayoutVars>
          <dgm:chPref val="3"/>
        </dgm:presLayoutVars>
      </dgm:prSet>
      <dgm:spPr/>
    </dgm:pt>
    <dgm:pt modelId="{B1B2E0EA-909D-4392-9F07-37E28B951E12}" type="pres">
      <dgm:prSet presAssocID="{6D1CFF49-8BA6-4ED8-9259-B0284A66F721}" presName="level3hierChild" presStyleCnt="0"/>
      <dgm:spPr/>
    </dgm:pt>
    <dgm:pt modelId="{749A4602-F0CB-4EC3-8D07-1162E53F4D96}" type="pres">
      <dgm:prSet presAssocID="{C21D25F9-4463-4F13-AA0B-6E55EA8FEC5C}" presName="conn2-1" presStyleLbl="parChTrans1D2" presStyleIdx="1" presStyleCnt="3"/>
      <dgm:spPr/>
    </dgm:pt>
    <dgm:pt modelId="{6AD85893-E810-405A-86B1-6EABFD13B0CF}" type="pres">
      <dgm:prSet presAssocID="{C21D25F9-4463-4F13-AA0B-6E55EA8FEC5C}" presName="connTx" presStyleLbl="parChTrans1D2" presStyleIdx="1" presStyleCnt="3"/>
      <dgm:spPr/>
    </dgm:pt>
    <dgm:pt modelId="{6CCBEE01-166D-4E78-B6F9-B8E0CE4128BA}" type="pres">
      <dgm:prSet presAssocID="{DBE1F6DC-394F-48C4-9E25-711E3A294F9C}" presName="root2" presStyleCnt="0"/>
      <dgm:spPr/>
    </dgm:pt>
    <dgm:pt modelId="{E5FD5451-7234-44C6-9B4F-22A8CC86502E}" type="pres">
      <dgm:prSet presAssocID="{DBE1F6DC-394F-48C4-9E25-711E3A294F9C}" presName="LevelTwoTextNode" presStyleLbl="node2" presStyleIdx="1" presStyleCnt="3" custLinFactNeighborX="-16839">
        <dgm:presLayoutVars>
          <dgm:chPref val="3"/>
        </dgm:presLayoutVars>
      </dgm:prSet>
      <dgm:spPr/>
    </dgm:pt>
    <dgm:pt modelId="{1119CE78-C669-4A06-99A9-E4159A6820C5}" type="pres">
      <dgm:prSet presAssocID="{DBE1F6DC-394F-48C4-9E25-711E3A294F9C}" presName="level3hierChild" presStyleCnt="0"/>
      <dgm:spPr/>
    </dgm:pt>
    <dgm:pt modelId="{18A8C619-A0A2-4238-A811-1083AF1F8427}" type="pres">
      <dgm:prSet presAssocID="{C8D11AC7-BD93-4C31-9538-2064A1E3E4A7}" presName="conn2-1" presStyleLbl="parChTrans1D2" presStyleIdx="2" presStyleCnt="3"/>
      <dgm:spPr/>
    </dgm:pt>
    <dgm:pt modelId="{AEF59868-8140-46BE-8BE2-78F77B447F39}" type="pres">
      <dgm:prSet presAssocID="{C8D11AC7-BD93-4C31-9538-2064A1E3E4A7}" presName="connTx" presStyleLbl="parChTrans1D2" presStyleIdx="2" presStyleCnt="3"/>
      <dgm:spPr/>
    </dgm:pt>
    <dgm:pt modelId="{C183E9B0-62F2-4E06-BF57-147745C25565}" type="pres">
      <dgm:prSet presAssocID="{C3483E22-81F5-4DFB-845F-08E7F82859B3}" presName="root2" presStyleCnt="0"/>
      <dgm:spPr/>
    </dgm:pt>
    <dgm:pt modelId="{B11EF92B-62A9-45F1-B52B-C2D92FF048A1}" type="pres">
      <dgm:prSet presAssocID="{C3483E22-81F5-4DFB-845F-08E7F82859B3}" presName="LevelTwoTextNode" presStyleLbl="node2" presStyleIdx="2" presStyleCnt="3" custLinFactNeighborX="-16839">
        <dgm:presLayoutVars>
          <dgm:chPref val="3"/>
        </dgm:presLayoutVars>
      </dgm:prSet>
      <dgm:spPr/>
    </dgm:pt>
    <dgm:pt modelId="{101071FD-877C-48D6-8570-0649AC1DABF8}" type="pres">
      <dgm:prSet presAssocID="{C3483E22-81F5-4DFB-845F-08E7F82859B3}" presName="level3hierChild" presStyleCnt="0"/>
      <dgm:spPr/>
    </dgm:pt>
  </dgm:ptLst>
  <dgm:cxnLst>
    <dgm:cxn modelId="{4D46A001-0CB0-4327-B601-82EDFE56F6B5}" srcId="{C23B4E16-78FB-45D1-A88E-3BD053A68B4C}" destId="{05B1D4AB-D8D5-42DD-B50D-AB9D7BFEFC2E}" srcOrd="0" destOrd="0" parTransId="{4C0852D2-7B24-4983-BAF9-0B44788AF047}" sibTransId="{F47CC933-D3E0-4D0C-89C3-4172242B9834}"/>
    <dgm:cxn modelId="{30C9AB1B-1EB5-47E1-A6E8-DBCE51FD0219}" type="presOf" srcId="{DBE1F6DC-394F-48C4-9E25-711E3A294F9C}" destId="{E5FD5451-7234-44C6-9B4F-22A8CC86502E}" srcOrd="0" destOrd="0" presId="urn:microsoft.com/office/officeart/2005/8/layout/hierarchy2"/>
    <dgm:cxn modelId="{2C598D2D-56CB-40F3-9F2A-C734514796BD}" srcId="{05B1D4AB-D8D5-42DD-B50D-AB9D7BFEFC2E}" destId="{C3483E22-81F5-4DFB-845F-08E7F82859B3}" srcOrd="2" destOrd="0" parTransId="{C8D11AC7-BD93-4C31-9538-2064A1E3E4A7}" sibTransId="{53D4A9F3-7035-4522-8040-98A46EF80E44}"/>
    <dgm:cxn modelId="{4DAF1531-93FA-4621-B647-72824307D2AA}" type="presOf" srcId="{C3483E22-81F5-4DFB-845F-08E7F82859B3}" destId="{B11EF92B-62A9-45F1-B52B-C2D92FF048A1}" srcOrd="0" destOrd="0" presId="urn:microsoft.com/office/officeart/2005/8/layout/hierarchy2"/>
    <dgm:cxn modelId="{48EA0B36-6B9A-4F72-91E5-F535B9040A4D}" type="presOf" srcId="{05B1D4AB-D8D5-42DD-B50D-AB9D7BFEFC2E}" destId="{0395DBC6-28BE-43A4-BF5A-62ACB51729EE}" srcOrd="0" destOrd="0" presId="urn:microsoft.com/office/officeart/2005/8/layout/hierarchy2"/>
    <dgm:cxn modelId="{1D7C8064-5731-43CE-9965-1D9A6A582DFD}" srcId="{05B1D4AB-D8D5-42DD-B50D-AB9D7BFEFC2E}" destId="{DBE1F6DC-394F-48C4-9E25-711E3A294F9C}" srcOrd="1" destOrd="0" parTransId="{C21D25F9-4463-4F13-AA0B-6E55EA8FEC5C}" sibTransId="{E952B0D3-9C35-4AC6-815E-821ADA6F2BD4}"/>
    <dgm:cxn modelId="{21E05766-4B87-4E34-8C9A-DDBAFA844E2E}" type="presOf" srcId="{C21D25F9-4463-4F13-AA0B-6E55EA8FEC5C}" destId="{749A4602-F0CB-4EC3-8D07-1162E53F4D96}" srcOrd="0" destOrd="0" presId="urn:microsoft.com/office/officeart/2005/8/layout/hierarchy2"/>
    <dgm:cxn modelId="{31FB7A4D-272B-4384-89C5-E953A638E10F}" type="presOf" srcId="{C8D11AC7-BD93-4C31-9538-2064A1E3E4A7}" destId="{AEF59868-8140-46BE-8BE2-78F77B447F39}" srcOrd="1" destOrd="0" presId="urn:microsoft.com/office/officeart/2005/8/layout/hierarchy2"/>
    <dgm:cxn modelId="{32C2EAAD-32C7-4E74-8EAF-BAEA0B4A8CC3}" type="presOf" srcId="{C21D25F9-4463-4F13-AA0B-6E55EA8FEC5C}" destId="{6AD85893-E810-405A-86B1-6EABFD13B0CF}" srcOrd="1" destOrd="0" presId="urn:microsoft.com/office/officeart/2005/8/layout/hierarchy2"/>
    <dgm:cxn modelId="{8494AFBC-D440-4E07-9E21-65A0BE3930BE}" srcId="{05B1D4AB-D8D5-42DD-B50D-AB9D7BFEFC2E}" destId="{6D1CFF49-8BA6-4ED8-9259-B0284A66F721}" srcOrd="0" destOrd="0" parTransId="{09DB1E86-B142-4A2F-BB8C-4F96F4F69EC2}" sibTransId="{4B96D7F2-CDB5-4B96-9BBC-1508B43C1615}"/>
    <dgm:cxn modelId="{AB31A8D0-DE1F-4298-9C49-720735E41ABE}" type="presOf" srcId="{09DB1E86-B142-4A2F-BB8C-4F96F4F69EC2}" destId="{0EC86ABA-A869-4B73-82DB-3A5E7B83E0ED}" srcOrd="1" destOrd="0" presId="urn:microsoft.com/office/officeart/2005/8/layout/hierarchy2"/>
    <dgm:cxn modelId="{03556AD5-8561-4208-858E-E7EE34A854A9}" type="presOf" srcId="{6D1CFF49-8BA6-4ED8-9259-B0284A66F721}" destId="{6548856A-4102-410D-961C-DDD5763EB351}" srcOrd="0" destOrd="0" presId="urn:microsoft.com/office/officeart/2005/8/layout/hierarchy2"/>
    <dgm:cxn modelId="{DE9415F1-87DC-47B3-9E28-81274AF799F6}" type="presOf" srcId="{C23B4E16-78FB-45D1-A88E-3BD053A68B4C}" destId="{ACBDF684-A446-4BAC-955B-9CF528FEAEA0}" srcOrd="0" destOrd="0" presId="urn:microsoft.com/office/officeart/2005/8/layout/hierarchy2"/>
    <dgm:cxn modelId="{B5B59AF1-EE21-46A5-81FF-685AA3440564}" type="presOf" srcId="{C8D11AC7-BD93-4C31-9538-2064A1E3E4A7}" destId="{18A8C619-A0A2-4238-A811-1083AF1F8427}" srcOrd="0" destOrd="0" presId="urn:microsoft.com/office/officeart/2005/8/layout/hierarchy2"/>
    <dgm:cxn modelId="{9CF87CFC-46BF-4C44-B2E5-3E2812DF212F}" type="presOf" srcId="{09DB1E86-B142-4A2F-BB8C-4F96F4F69EC2}" destId="{82B365B3-F0B6-46A4-BE8C-0FF0D41CA157}" srcOrd="0" destOrd="0" presId="urn:microsoft.com/office/officeart/2005/8/layout/hierarchy2"/>
    <dgm:cxn modelId="{44BB632B-983F-400D-99F2-E6075D054699}" type="presParOf" srcId="{ACBDF684-A446-4BAC-955B-9CF528FEAEA0}" destId="{C3BCF661-C0A3-45C8-B052-45E5792FC1E2}" srcOrd="0" destOrd="0" presId="urn:microsoft.com/office/officeart/2005/8/layout/hierarchy2"/>
    <dgm:cxn modelId="{9C705654-3560-4229-80B3-53A0FDD0C4E3}" type="presParOf" srcId="{C3BCF661-C0A3-45C8-B052-45E5792FC1E2}" destId="{0395DBC6-28BE-43A4-BF5A-62ACB51729EE}" srcOrd="0" destOrd="0" presId="urn:microsoft.com/office/officeart/2005/8/layout/hierarchy2"/>
    <dgm:cxn modelId="{5357AF33-DF5D-4137-9250-A3BE96802DC4}" type="presParOf" srcId="{C3BCF661-C0A3-45C8-B052-45E5792FC1E2}" destId="{14E067B4-8A8D-44D0-88DE-4622971A071F}" srcOrd="1" destOrd="0" presId="urn:microsoft.com/office/officeart/2005/8/layout/hierarchy2"/>
    <dgm:cxn modelId="{FB046C0B-E6F4-4EB5-92FD-A704D3356C10}" type="presParOf" srcId="{14E067B4-8A8D-44D0-88DE-4622971A071F}" destId="{82B365B3-F0B6-46A4-BE8C-0FF0D41CA157}" srcOrd="0" destOrd="0" presId="urn:microsoft.com/office/officeart/2005/8/layout/hierarchy2"/>
    <dgm:cxn modelId="{2FCB24B2-92E2-41AC-B549-646EE9F7C9D5}" type="presParOf" srcId="{82B365B3-F0B6-46A4-BE8C-0FF0D41CA157}" destId="{0EC86ABA-A869-4B73-82DB-3A5E7B83E0ED}" srcOrd="0" destOrd="0" presId="urn:microsoft.com/office/officeart/2005/8/layout/hierarchy2"/>
    <dgm:cxn modelId="{44A12509-C011-4C8A-8B29-AA0AED24A371}" type="presParOf" srcId="{14E067B4-8A8D-44D0-88DE-4622971A071F}" destId="{9350005D-EFB7-40E1-8686-B26A3E9CF699}" srcOrd="1" destOrd="0" presId="urn:microsoft.com/office/officeart/2005/8/layout/hierarchy2"/>
    <dgm:cxn modelId="{88760A54-B3B1-4527-996B-A0E9C247B375}" type="presParOf" srcId="{9350005D-EFB7-40E1-8686-B26A3E9CF699}" destId="{6548856A-4102-410D-961C-DDD5763EB351}" srcOrd="0" destOrd="0" presId="urn:microsoft.com/office/officeart/2005/8/layout/hierarchy2"/>
    <dgm:cxn modelId="{6512768B-27CB-4557-B3AE-5311FEA76AFA}" type="presParOf" srcId="{9350005D-EFB7-40E1-8686-B26A3E9CF699}" destId="{B1B2E0EA-909D-4392-9F07-37E28B951E12}" srcOrd="1" destOrd="0" presId="urn:microsoft.com/office/officeart/2005/8/layout/hierarchy2"/>
    <dgm:cxn modelId="{E3862FE9-8B52-4F71-85EE-49DC252EB7B0}" type="presParOf" srcId="{14E067B4-8A8D-44D0-88DE-4622971A071F}" destId="{749A4602-F0CB-4EC3-8D07-1162E53F4D96}" srcOrd="2" destOrd="0" presId="urn:microsoft.com/office/officeart/2005/8/layout/hierarchy2"/>
    <dgm:cxn modelId="{774E4F46-20E4-421C-BC6B-B387B72D610C}" type="presParOf" srcId="{749A4602-F0CB-4EC3-8D07-1162E53F4D96}" destId="{6AD85893-E810-405A-86B1-6EABFD13B0CF}" srcOrd="0" destOrd="0" presId="urn:microsoft.com/office/officeart/2005/8/layout/hierarchy2"/>
    <dgm:cxn modelId="{704A4738-B71E-4273-BF16-923A1DB64A3D}" type="presParOf" srcId="{14E067B4-8A8D-44D0-88DE-4622971A071F}" destId="{6CCBEE01-166D-4E78-B6F9-B8E0CE4128BA}" srcOrd="3" destOrd="0" presId="urn:microsoft.com/office/officeart/2005/8/layout/hierarchy2"/>
    <dgm:cxn modelId="{0553EF53-F6B7-43F2-9077-7B5A844404B3}" type="presParOf" srcId="{6CCBEE01-166D-4E78-B6F9-B8E0CE4128BA}" destId="{E5FD5451-7234-44C6-9B4F-22A8CC86502E}" srcOrd="0" destOrd="0" presId="urn:microsoft.com/office/officeart/2005/8/layout/hierarchy2"/>
    <dgm:cxn modelId="{5A4B3E97-A3C5-471C-A733-C7156D0606D2}" type="presParOf" srcId="{6CCBEE01-166D-4E78-B6F9-B8E0CE4128BA}" destId="{1119CE78-C669-4A06-99A9-E4159A6820C5}" srcOrd="1" destOrd="0" presId="urn:microsoft.com/office/officeart/2005/8/layout/hierarchy2"/>
    <dgm:cxn modelId="{A5BCAB42-92D5-4C04-BAD6-A96B3B28D5E2}" type="presParOf" srcId="{14E067B4-8A8D-44D0-88DE-4622971A071F}" destId="{18A8C619-A0A2-4238-A811-1083AF1F8427}" srcOrd="4" destOrd="0" presId="urn:microsoft.com/office/officeart/2005/8/layout/hierarchy2"/>
    <dgm:cxn modelId="{10D0F701-EFFE-434D-BAC4-04CC29BC20FB}" type="presParOf" srcId="{18A8C619-A0A2-4238-A811-1083AF1F8427}" destId="{AEF59868-8140-46BE-8BE2-78F77B447F39}" srcOrd="0" destOrd="0" presId="urn:microsoft.com/office/officeart/2005/8/layout/hierarchy2"/>
    <dgm:cxn modelId="{9B773A4C-C7BA-44A5-9907-05560BEAE996}" type="presParOf" srcId="{14E067B4-8A8D-44D0-88DE-4622971A071F}" destId="{C183E9B0-62F2-4E06-BF57-147745C25565}" srcOrd="5" destOrd="0" presId="urn:microsoft.com/office/officeart/2005/8/layout/hierarchy2"/>
    <dgm:cxn modelId="{A1C98981-D6F6-472D-A9F2-82EFA73F07DB}" type="presParOf" srcId="{C183E9B0-62F2-4E06-BF57-147745C25565}" destId="{B11EF92B-62A9-45F1-B52B-C2D92FF048A1}" srcOrd="0" destOrd="0" presId="urn:microsoft.com/office/officeart/2005/8/layout/hierarchy2"/>
    <dgm:cxn modelId="{E2B1F60E-F0C2-4180-882E-E99EED50EC75}" type="presParOf" srcId="{C183E9B0-62F2-4E06-BF57-147745C25565}" destId="{101071FD-877C-48D6-8570-0649AC1DABF8}"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8F984C-D8DE-4013-983F-475FFC712030}">
      <dsp:nvSpPr>
        <dsp:cNvPr id="0" name=""/>
        <dsp:cNvSpPr/>
      </dsp:nvSpPr>
      <dsp:spPr>
        <a:xfrm rot="16200000">
          <a:off x="677333" y="-677333"/>
          <a:ext cx="2709333" cy="4064000"/>
        </a:xfrm>
        <a:prstGeom prst="round1Rect">
          <a:avLst/>
        </a:prstGeom>
        <a:solidFill>
          <a:srgbClr val="C0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0" i="0" kern="1200" dirty="0"/>
            <a:t>Frequent regression testing</a:t>
          </a:r>
          <a:endParaRPr lang="en-US" sz="3200" kern="1200" dirty="0"/>
        </a:p>
      </dsp:txBody>
      <dsp:txXfrm rot="5400000">
        <a:off x="-1" y="1"/>
        <a:ext cx="4064000" cy="2032000"/>
      </dsp:txXfrm>
    </dsp:sp>
    <dsp:sp modelId="{0A37FEDA-6266-4E60-BF79-FC689FEF1EF4}">
      <dsp:nvSpPr>
        <dsp:cNvPr id="0" name=""/>
        <dsp:cNvSpPr/>
      </dsp:nvSpPr>
      <dsp:spPr>
        <a:xfrm>
          <a:off x="4064000" y="0"/>
          <a:ext cx="4064000" cy="2709333"/>
        </a:xfrm>
        <a:prstGeom prst="round1Rect">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0" i="0" kern="1200" dirty="0"/>
            <a:t>Rapid feedback to developers</a:t>
          </a:r>
          <a:endParaRPr lang="en-US" sz="3200" kern="1200" dirty="0"/>
        </a:p>
      </dsp:txBody>
      <dsp:txXfrm>
        <a:off x="4064000" y="0"/>
        <a:ext cx="4064000" cy="2032000"/>
      </dsp:txXfrm>
    </dsp:sp>
    <dsp:sp modelId="{791099EC-C976-4D4E-AD11-1679A81D128D}">
      <dsp:nvSpPr>
        <dsp:cNvPr id="0" name=""/>
        <dsp:cNvSpPr/>
      </dsp:nvSpPr>
      <dsp:spPr>
        <a:xfrm rot="10800000">
          <a:off x="0" y="2709333"/>
          <a:ext cx="4064000" cy="2709333"/>
        </a:xfrm>
        <a:prstGeom prst="round1Rect">
          <a:avLst/>
        </a:prstGeom>
        <a:solidFill>
          <a:srgbClr val="00B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0" i="0" kern="1200" dirty="0"/>
            <a:t>Virtually unlimited iterations of test case execution</a:t>
          </a:r>
          <a:endParaRPr lang="en-US" sz="3200" kern="1200" dirty="0"/>
        </a:p>
      </dsp:txBody>
      <dsp:txXfrm rot="10800000">
        <a:off x="0" y="3386666"/>
        <a:ext cx="4064000" cy="2032000"/>
      </dsp:txXfrm>
    </dsp:sp>
    <dsp:sp modelId="{9AC5FAB6-BBC5-4727-AADA-5695596274E9}">
      <dsp:nvSpPr>
        <dsp:cNvPr id="0" name=""/>
        <dsp:cNvSpPr/>
      </dsp:nvSpPr>
      <dsp:spPr>
        <a:xfrm rot="5400000">
          <a:off x="4741333" y="2032000"/>
          <a:ext cx="2709333" cy="4064000"/>
        </a:xfrm>
        <a:prstGeom prst="round1Rect">
          <a:avLst/>
        </a:prstGeom>
        <a:solidFill>
          <a:srgbClr val="0020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0" i="0" kern="1200" dirty="0"/>
            <a:t>Finding defects missed by manual testing</a:t>
          </a:r>
          <a:endParaRPr lang="en-US" sz="3200" kern="1200" dirty="0"/>
        </a:p>
      </dsp:txBody>
      <dsp:txXfrm rot="-5400000">
        <a:off x="4063999" y="3386666"/>
        <a:ext cx="4064000" cy="2032000"/>
      </dsp:txXfrm>
    </dsp:sp>
    <dsp:sp modelId="{D48EF8BF-5324-4D64-817E-F91EC1DCBAEF}">
      <dsp:nvSpPr>
        <dsp:cNvPr id="0" name=""/>
        <dsp:cNvSpPr/>
      </dsp:nvSpPr>
      <dsp:spPr>
        <a:xfrm>
          <a:off x="2844799" y="1735063"/>
          <a:ext cx="2438400" cy="1948539"/>
        </a:xfrm>
        <a:prstGeom prst="roundRect">
          <a:avLst/>
        </a:prstGeom>
        <a:solidFill>
          <a:srgbClr val="2E75B6"/>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 </a:t>
          </a:r>
        </a:p>
      </dsp:txBody>
      <dsp:txXfrm>
        <a:off x="2939919" y="1830183"/>
        <a:ext cx="2248160" cy="17582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95DBC6-28BE-43A4-BF5A-62ACB51729EE}">
      <dsp:nvSpPr>
        <dsp:cNvPr id="0" name=""/>
        <dsp:cNvSpPr/>
      </dsp:nvSpPr>
      <dsp:spPr>
        <a:xfrm>
          <a:off x="126999" y="1889125"/>
          <a:ext cx="3280833" cy="1640416"/>
        </a:xfrm>
        <a:prstGeom prst="roundRect">
          <a:avLst>
            <a:gd name="adj" fmla="val 10000"/>
          </a:avLst>
        </a:prstGeom>
        <a:solidFill>
          <a:sysClr val="windowText" lastClr="00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b="1" kern="1200" dirty="0">
              <a:solidFill>
                <a:srgbClr val="FFC000"/>
              </a:solidFill>
              <a:latin typeface="Calibri" panose="020F0502020204030204"/>
              <a:ea typeface="+mn-ea"/>
              <a:cs typeface="+mn-cs"/>
            </a:rPr>
            <a:t>Selenium Suite</a:t>
          </a:r>
        </a:p>
      </dsp:txBody>
      <dsp:txXfrm>
        <a:off x="175045" y="1937171"/>
        <a:ext cx="3184741" cy="1544324"/>
      </dsp:txXfrm>
    </dsp:sp>
    <dsp:sp modelId="{82B365B3-F0B6-46A4-BE8C-0FF0D41CA157}">
      <dsp:nvSpPr>
        <dsp:cNvPr id="0" name=""/>
        <dsp:cNvSpPr/>
      </dsp:nvSpPr>
      <dsp:spPr>
        <a:xfrm rot="17516375">
          <a:off x="2770886" y="1738847"/>
          <a:ext cx="2033768" cy="54492"/>
        </a:xfrm>
        <a:custGeom>
          <a:avLst/>
          <a:gdLst/>
          <a:ahLst/>
          <a:cxnLst/>
          <a:rect l="0" t="0" r="0" b="0"/>
          <a:pathLst>
            <a:path>
              <a:moveTo>
                <a:pt x="0" y="27246"/>
              </a:moveTo>
              <a:lnTo>
                <a:pt x="2033768" y="27246"/>
              </a:lnTo>
            </a:path>
          </a:pathLst>
        </a:custGeom>
        <a:noFill/>
        <a:ln w="50800" cap="rnd" cmpd="sng" algn="ctr">
          <a:solidFill>
            <a:sysClr val="window" lastClr="FFFFFF"/>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ysClr val="windowText" lastClr="000000">
                <a:hueOff val="0"/>
                <a:satOff val="0"/>
                <a:lumOff val="0"/>
                <a:alphaOff val="0"/>
              </a:sysClr>
            </a:solidFill>
            <a:latin typeface="Calibri" panose="020F0502020204030204"/>
            <a:ea typeface="+mn-ea"/>
            <a:cs typeface="+mn-cs"/>
          </a:endParaRPr>
        </a:p>
      </dsp:txBody>
      <dsp:txXfrm>
        <a:off x="3721611" y="1794258"/>
        <a:ext cx="0" cy="0"/>
      </dsp:txXfrm>
    </dsp:sp>
    <dsp:sp modelId="{6548856A-4102-410D-961C-DDD5763EB351}">
      <dsp:nvSpPr>
        <dsp:cNvPr id="0" name=""/>
        <dsp:cNvSpPr/>
      </dsp:nvSpPr>
      <dsp:spPr>
        <a:xfrm>
          <a:off x="4167707" y="2645"/>
          <a:ext cx="3280833" cy="1640416"/>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dirty="0">
              <a:solidFill>
                <a:sysClr val="windowText" lastClr="000000"/>
              </a:solidFill>
              <a:latin typeface="+mn-lt"/>
              <a:ea typeface="+mn-ea"/>
              <a:cs typeface="Andalus" panose="02020603050405020304" pitchFamily="18" charset="-78"/>
            </a:rPr>
            <a:t>Selenium IDE</a:t>
          </a:r>
        </a:p>
      </dsp:txBody>
      <dsp:txXfrm>
        <a:off x="4215753" y="50691"/>
        <a:ext cx="3184741" cy="1544324"/>
      </dsp:txXfrm>
    </dsp:sp>
    <dsp:sp modelId="{749A4602-F0CB-4EC3-8D07-1162E53F4D96}">
      <dsp:nvSpPr>
        <dsp:cNvPr id="0" name=""/>
        <dsp:cNvSpPr/>
      </dsp:nvSpPr>
      <dsp:spPr>
        <a:xfrm>
          <a:off x="3407833" y="2682087"/>
          <a:ext cx="759873" cy="54492"/>
        </a:xfrm>
        <a:custGeom>
          <a:avLst/>
          <a:gdLst/>
          <a:ahLst/>
          <a:cxnLst/>
          <a:rect l="0" t="0" r="0" b="0"/>
          <a:pathLst>
            <a:path>
              <a:moveTo>
                <a:pt x="0" y="27246"/>
              </a:moveTo>
              <a:lnTo>
                <a:pt x="759873" y="27246"/>
              </a:lnTo>
            </a:path>
          </a:pathLst>
        </a:custGeom>
        <a:noFill/>
        <a:ln w="50800" cap="rnd" cmpd="sng" algn="ctr">
          <a:solidFill>
            <a:sysClr val="window" lastClr="FFFFFF"/>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ysClr val="windowText" lastClr="000000">
                <a:hueOff val="0"/>
                <a:satOff val="0"/>
                <a:lumOff val="0"/>
                <a:alphaOff val="0"/>
              </a:sysClr>
            </a:solidFill>
            <a:latin typeface="Calibri" panose="020F0502020204030204"/>
            <a:ea typeface="+mn-ea"/>
            <a:cs typeface="+mn-cs"/>
          </a:endParaRPr>
        </a:p>
      </dsp:txBody>
      <dsp:txXfrm>
        <a:off x="3768773" y="2690336"/>
        <a:ext cx="0" cy="0"/>
      </dsp:txXfrm>
    </dsp:sp>
    <dsp:sp modelId="{E5FD5451-7234-44C6-9B4F-22A8CC86502E}">
      <dsp:nvSpPr>
        <dsp:cNvPr id="0" name=""/>
        <dsp:cNvSpPr/>
      </dsp:nvSpPr>
      <dsp:spPr>
        <a:xfrm>
          <a:off x="4167707" y="1889125"/>
          <a:ext cx="3280833" cy="1640416"/>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ysClr val="windowText" lastClr="000000"/>
              </a:solidFill>
              <a:latin typeface="+mn-lt"/>
              <a:ea typeface="+mn-ea"/>
              <a:cs typeface="Andalus" panose="02020603050405020304" pitchFamily="18" charset="-78"/>
            </a:rPr>
            <a:t>Selenium 2 (Webdriver &amp; RC)</a:t>
          </a:r>
        </a:p>
      </dsp:txBody>
      <dsp:txXfrm>
        <a:off x="4215753" y="1937171"/>
        <a:ext cx="3184741" cy="1544324"/>
      </dsp:txXfrm>
    </dsp:sp>
    <dsp:sp modelId="{18A8C619-A0A2-4238-A811-1083AF1F8427}">
      <dsp:nvSpPr>
        <dsp:cNvPr id="0" name=""/>
        <dsp:cNvSpPr/>
      </dsp:nvSpPr>
      <dsp:spPr>
        <a:xfrm rot="4083625">
          <a:off x="2770886" y="3625327"/>
          <a:ext cx="2033768" cy="54492"/>
        </a:xfrm>
        <a:custGeom>
          <a:avLst/>
          <a:gdLst/>
          <a:ahLst/>
          <a:cxnLst/>
          <a:rect l="0" t="0" r="0" b="0"/>
          <a:pathLst>
            <a:path>
              <a:moveTo>
                <a:pt x="0" y="27246"/>
              </a:moveTo>
              <a:lnTo>
                <a:pt x="2033768" y="27246"/>
              </a:lnTo>
            </a:path>
          </a:pathLst>
        </a:custGeom>
        <a:noFill/>
        <a:ln w="50800" cap="rnd" cmpd="sng" algn="ctr">
          <a:solidFill>
            <a:sysClr val="window" lastClr="FFFFFF"/>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solidFill>
              <a:sysClr val="windowText" lastClr="000000">
                <a:hueOff val="0"/>
                <a:satOff val="0"/>
                <a:lumOff val="0"/>
                <a:alphaOff val="0"/>
              </a:sysClr>
            </a:solidFill>
            <a:latin typeface="Calibri" panose="020F0502020204030204"/>
            <a:ea typeface="+mn-ea"/>
            <a:cs typeface="+mn-cs"/>
          </a:endParaRPr>
        </a:p>
      </dsp:txBody>
      <dsp:txXfrm>
        <a:off x="3815935" y="3586413"/>
        <a:ext cx="0" cy="0"/>
      </dsp:txXfrm>
    </dsp:sp>
    <dsp:sp modelId="{B11EF92B-62A9-45F1-B52B-C2D92FF048A1}">
      <dsp:nvSpPr>
        <dsp:cNvPr id="0" name=""/>
        <dsp:cNvSpPr/>
      </dsp:nvSpPr>
      <dsp:spPr>
        <a:xfrm>
          <a:off x="4167707" y="3775604"/>
          <a:ext cx="3280833" cy="1640416"/>
        </a:xfrm>
        <a:prstGeom prst="roundRect">
          <a:avLst>
            <a:gd name="adj" fmla="val 1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dirty="0">
              <a:solidFill>
                <a:sysClr val="windowText" lastClr="000000"/>
              </a:solidFill>
              <a:latin typeface="+mn-lt"/>
              <a:ea typeface="+mn-ea"/>
              <a:cs typeface="Andalus" panose="02020603050405020304" pitchFamily="18" charset="-78"/>
            </a:rPr>
            <a:t>Selenium Grid</a:t>
          </a:r>
        </a:p>
      </dsp:txBody>
      <dsp:txXfrm>
        <a:off x="4215753" y="3823650"/>
        <a:ext cx="3184741" cy="154432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D8D985-DE5C-4C87-9318-86DBD447FDA1}"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345202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D8D985-DE5C-4C87-9318-86DBD447FDA1}"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978038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D8D985-DE5C-4C87-9318-86DBD447FDA1}"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5006622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7_Title Slide_Deep Violet">
    <p:bg>
      <p:bgPr>
        <a:solidFill>
          <a:srgbClr val="002266"/>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47" name="think-cell Slide" r:id="rId4" imgW="0" imgH="0" progId="">
                  <p:embed/>
                </p:oleObj>
              </mc:Choice>
              <mc:Fallback>
                <p:oleObj name="think-cell Slide"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12"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624417" y="309930"/>
            <a:ext cx="6057600" cy="729120"/>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3" name="Group 12"/>
          <p:cNvGrpSpPr/>
          <p:nvPr userDrawn="1"/>
        </p:nvGrpSpPr>
        <p:grpSpPr>
          <a:xfrm>
            <a:off x="7581928" y="2385976"/>
            <a:ext cx="4099193" cy="2060440"/>
            <a:chOff x="5701703" y="682760"/>
            <a:chExt cx="3074395" cy="2060440"/>
          </a:xfrm>
        </p:grpSpPr>
        <p:sp>
          <p:nvSpPr>
            <p:cNvPr id="14" name="Freeform 13"/>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316584" y="6265653"/>
            <a:ext cx="6258560" cy="228600"/>
          </a:xfrm>
          <a:prstGeom prst="rect">
            <a:avLst/>
          </a:prstGeom>
          <a:noFill/>
          <a:ln>
            <a:noFill/>
          </a:ln>
        </p:spPr>
      </p:pic>
      <p:sp>
        <p:nvSpPr>
          <p:cNvPr id="17" name="Text Placeholder 32"/>
          <p:cNvSpPr>
            <a:spLocks noGrp="1"/>
          </p:cNvSpPr>
          <p:nvPr>
            <p:ph type="body" sz="quarter" idx="10" hasCustomPrompt="1"/>
          </p:nvPr>
        </p:nvSpPr>
        <p:spPr>
          <a:xfrm>
            <a:off x="622081" y="4585647"/>
            <a:ext cx="5774484" cy="467562"/>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0" kern="1200" spc="0" baseline="0" dirty="0" smtClean="0">
                <a:solidFill>
                  <a:srgbClr val="FFFFFF"/>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subtitle</a:t>
            </a:r>
          </a:p>
        </p:txBody>
      </p:sp>
      <p:sp>
        <p:nvSpPr>
          <p:cNvPr id="18" name="Title 1"/>
          <p:cNvSpPr>
            <a:spLocks noGrp="1"/>
          </p:cNvSpPr>
          <p:nvPr>
            <p:ph type="ctrTitle" hasCustomPrompt="1"/>
          </p:nvPr>
        </p:nvSpPr>
        <p:spPr>
          <a:xfrm>
            <a:off x="622081" y="3437057"/>
            <a:ext cx="5774487" cy="996950"/>
          </a:xfrm>
          <a:prstGeom prst="rect">
            <a:avLst/>
          </a:prstGeom>
        </p:spPr>
        <p:txBody>
          <a:bodyPr lIns="0" tIns="0" anchor="b" anchorCtr="0">
            <a:noAutofit/>
          </a:bodyPr>
          <a:lstStyle>
            <a:lvl1pPr algn="l">
              <a:lnSpc>
                <a:spcPct val="100000"/>
              </a:lnSpc>
              <a:spcAft>
                <a:spcPts val="0"/>
              </a:spcAft>
              <a:defRPr sz="3600" b="1" spc="0" baseline="0">
                <a:solidFill>
                  <a:srgbClr val="FFFFFF"/>
                </a:solidFill>
                <a:latin typeface="+mj-lt"/>
                <a:cs typeface="Arial" pitchFamily="34" charset="0"/>
              </a:defRPr>
            </a:lvl1pPr>
          </a:lstStyle>
          <a:p>
            <a:r>
              <a:rPr lang="en-US" dirty="0"/>
              <a:t>Click to edit presentation title</a:t>
            </a:r>
            <a:endParaRPr lang="en-GB" dirty="0"/>
          </a:p>
        </p:txBody>
      </p:sp>
    </p:spTree>
    <p:extLst>
      <p:ext uri="{BB962C8B-B14F-4D97-AF65-F5344CB8AC3E}">
        <p14:creationId xmlns:p14="http://schemas.microsoft.com/office/powerpoint/2010/main" val="249971216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27" name="Parallelogram 2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0473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0"/>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17" name="Parallelogram 1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48382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40692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087658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1"/>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7489324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8704384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14001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D8D985-DE5C-4C87-9318-86DBD447FDA1}"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1376167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8"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48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8934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D8D985-DE5C-4C87-9318-86DBD447FDA1}" type="datetimeFigureOut">
              <a:rPr lang="en-US" smtClean="0"/>
              <a:t>8/2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161681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D8D985-DE5C-4C87-9318-86DBD447FDA1}" type="datetimeFigureOut">
              <a:rPr lang="en-US" smtClean="0"/>
              <a:t>8/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302524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D8D985-DE5C-4C87-9318-86DBD447FDA1}" type="datetimeFigureOut">
              <a:rPr lang="en-US" smtClean="0"/>
              <a:t>8/2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409360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D8D985-DE5C-4C87-9318-86DBD447FDA1}" type="datetimeFigureOut">
              <a:rPr lang="en-US" smtClean="0"/>
              <a:t>8/2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512202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D8D985-DE5C-4C87-9318-86DBD447FDA1}" type="datetimeFigureOut">
              <a:rPr lang="en-US" smtClean="0"/>
              <a:t>8/2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20937739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D8D985-DE5C-4C87-9318-86DBD447FDA1}" type="datetimeFigureOut">
              <a:rPr lang="en-US" smtClean="0"/>
              <a:t>8/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3884615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D8D985-DE5C-4C87-9318-86DBD447FDA1}" type="datetimeFigureOut">
              <a:rPr lang="en-US" smtClean="0"/>
              <a:t>8/2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01EBD9-E4CE-412F-ACCC-68FD555BC487}" type="slidenum">
              <a:rPr lang="en-US" smtClean="0"/>
              <a:t>‹#›</a:t>
            </a:fld>
            <a:endParaRPr lang="en-US"/>
          </a:p>
        </p:txBody>
      </p:sp>
    </p:spTree>
    <p:extLst>
      <p:ext uri="{BB962C8B-B14F-4D97-AF65-F5344CB8AC3E}">
        <p14:creationId xmlns:p14="http://schemas.microsoft.com/office/powerpoint/2010/main" val="1937512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D8D985-DE5C-4C87-9318-86DBD447FDA1}" type="datetimeFigureOut">
              <a:rPr lang="en-US" smtClean="0"/>
              <a:t>8/25/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01EBD9-E4CE-412F-ACCC-68FD555BC487}" type="slidenum">
              <a:rPr lang="en-US" smtClean="0"/>
              <a:t>‹#›</a:t>
            </a:fld>
            <a:endParaRPr lang="en-US"/>
          </a:p>
        </p:txBody>
      </p:sp>
    </p:spTree>
    <p:extLst>
      <p:ext uri="{BB962C8B-B14F-4D97-AF65-F5344CB8AC3E}">
        <p14:creationId xmlns:p14="http://schemas.microsoft.com/office/powerpoint/2010/main" val="2450003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7"/>
            <a:ext cx="11430000" cy="5357721"/>
          </a:xfrm>
          <a:prstGeom prst="rect">
            <a:avLst/>
          </a:prstGeom>
        </p:spPr>
        <p:txBody>
          <a:bodyPr vert="horz" lIns="0" tIns="91440" rIns="0" bIns="45720" rtlCol="0">
            <a:normAutofit/>
          </a:bodyPr>
          <a:lstStyle/>
          <a:p>
            <a:pPr marL="0" lvl="0" indent="0" algn="l" defTabSz="914377" rtl="0" eaLnBrk="1" latinLnBrk="0" hangingPunct="1">
              <a:lnSpc>
                <a:spcPct val="85000"/>
              </a:lnSpc>
              <a:spcBef>
                <a:spcPts val="0"/>
              </a:spcBef>
              <a:spcAft>
                <a:spcPts val="12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190673414"/>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hf hdr="0" dt="0"/>
  <p:txStyles>
    <p:titleStyle>
      <a:lvl1pPr marL="0" indent="0" algn="l" defTabSz="914377" rtl="0" eaLnBrk="1" latinLnBrk="0" hangingPunct="1">
        <a:lnSpc>
          <a:spcPct val="70000"/>
        </a:lnSpc>
        <a:spcBef>
          <a:spcPct val="0"/>
        </a:spcBef>
        <a:buNone/>
        <a:defRPr sz="2800" b="1" kern="1200" cap="all" baseline="0">
          <a:solidFill>
            <a:schemeClr val="bg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lang="en-US" sz="2000" b="1" kern="1200" cap="none" baseline="0" dirty="0">
          <a:solidFill>
            <a:schemeClr val="bg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bg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bg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hyperlink" Target="http://www.seleniumhq.org/" TargetMode="Externa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GB" dirty="0"/>
              <a:t>Selenium</a:t>
            </a:r>
          </a:p>
        </p:txBody>
      </p:sp>
      <p:sp>
        <p:nvSpPr>
          <p:cNvPr id="7" name="Text Placeholder 6"/>
          <p:cNvSpPr>
            <a:spLocks noGrp="1"/>
          </p:cNvSpPr>
          <p:nvPr>
            <p:ph type="body" sz="quarter" idx="10"/>
          </p:nvPr>
        </p:nvSpPr>
        <p:spPr/>
        <p:txBody>
          <a:bodyPr/>
          <a:lstStyle/>
          <a:p>
            <a:r>
              <a:rPr lang="en-GB" dirty="0"/>
              <a:t>DevOps</a:t>
            </a:r>
          </a:p>
        </p:txBody>
      </p:sp>
    </p:spTree>
    <p:extLst>
      <p:ext uri="{BB962C8B-B14F-4D97-AF65-F5344CB8AC3E}">
        <p14:creationId xmlns:p14="http://schemas.microsoft.com/office/powerpoint/2010/main" val="355888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pic>
        <p:nvPicPr>
          <p:cNvPr id="8" name="Picture 7"/>
          <p:cNvPicPr>
            <a:picLocks noChangeAspect="1"/>
          </p:cNvPicPr>
          <p:nvPr/>
        </p:nvPicPr>
        <p:blipFill>
          <a:blip r:embed="rId2"/>
          <a:stretch>
            <a:fillRect/>
          </a:stretch>
        </p:blipFill>
        <p:spPr>
          <a:xfrm>
            <a:off x="6253162" y="180975"/>
            <a:ext cx="5553075" cy="6677025"/>
          </a:xfrm>
          <a:prstGeom prst="rect">
            <a:avLst/>
          </a:prstGeom>
        </p:spPr>
      </p:pic>
      <p:pic>
        <p:nvPicPr>
          <p:cNvPr id="9" name="Picture 8"/>
          <p:cNvPicPr>
            <a:picLocks noChangeAspect="1"/>
          </p:cNvPicPr>
          <p:nvPr/>
        </p:nvPicPr>
        <p:blipFill>
          <a:blip r:embed="rId3"/>
          <a:stretch>
            <a:fillRect/>
          </a:stretch>
        </p:blipFill>
        <p:spPr>
          <a:xfrm>
            <a:off x="332536" y="195262"/>
            <a:ext cx="5543550" cy="6648450"/>
          </a:xfrm>
          <a:prstGeom prst="rect">
            <a:avLst/>
          </a:prstGeom>
        </p:spPr>
      </p:pic>
    </p:spTree>
    <p:extLst>
      <p:ext uri="{BB962C8B-B14F-4D97-AF65-F5344CB8AC3E}">
        <p14:creationId xmlns:p14="http://schemas.microsoft.com/office/powerpoint/2010/main" val="3571461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XPORTED TEST SUITE RESULTS</a:t>
            </a:r>
          </a:p>
        </p:txBody>
      </p:sp>
    </p:spTree>
    <p:extLst>
      <p:ext uri="{BB962C8B-B14F-4D97-AF65-F5344CB8AC3E}">
        <p14:creationId xmlns:p14="http://schemas.microsoft.com/office/powerpoint/2010/main" val="3916622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PORTED TEST SUITE RESULTS</a:t>
            </a:r>
            <a:endParaRPr lang="en-US" dirty="0"/>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pic>
        <p:nvPicPr>
          <p:cNvPr id="8" name="Picture 7"/>
          <p:cNvPicPr>
            <a:picLocks noChangeAspect="1"/>
          </p:cNvPicPr>
          <p:nvPr/>
        </p:nvPicPr>
        <p:blipFill>
          <a:blip r:embed="rId2"/>
          <a:stretch>
            <a:fillRect/>
          </a:stretch>
        </p:blipFill>
        <p:spPr>
          <a:xfrm>
            <a:off x="69981" y="1162050"/>
            <a:ext cx="12052038" cy="4762500"/>
          </a:xfrm>
          <a:prstGeom prst="rect">
            <a:avLst/>
          </a:prstGeom>
          <a:ln>
            <a:solidFill>
              <a:schemeClr val="tx1"/>
            </a:solidFill>
          </a:ln>
        </p:spPr>
      </p:pic>
    </p:spTree>
    <p:extLst>
      <p:ext uri="{BB962C8B-B14F-4D97-AF65-F5344CB8AC3E}">
        <p14:creationId xmlns:p14="http://schemas.microsoft.com/office/powerpoint/2010/main" val="1589589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LENIUM WEBDRIVER</a:t>
            </a:r>
          </a:p>
        </p:txBody>
      </p:sp>
    </p:spTree>
    <p:extLst>
      <p:ext uri="{BB962C8B-B14F-4D97-AF65-F5344CB8AC3E}">
        <p14:creationId xmlns:p14="http://schemas.microsoft.com/office/powerpoint/2010/main" val="1252695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LENIUM WEBDRIVER</a:t>
            </a:r>
            <a:endParaRPr lang="en-US" dirty="0"/>
          </a:p>
        </p:txBody>
      </p:sp>
      <p:sp>
        <p:nvSpPr>
          <p:cNvPr id="4" name="Text Placeholder 3"/>
          <p:cNvSpPr>
            <a:spLocks noGrp="1"/>
          </p:cNvSpPr>
          <p:nvPr>
            <p:ph type="body" sz="quarter" idx="10"/>
          </p:nvPr>
        </p:nvSpPr>
        <p:spPr/>
        <p:txBody>
          <a:bodyPr/>
          <a:lstStyle/>
          <a:p>
            <a:pPr marL="342900" indent="-342900">
              <a:buFont typeface="Arial" panose="020B0604020202020204" pitchFamily="34" charset="0"/>
              <a:buChar char="•"/>
            </a:pPr>
            <a:r>
              <a:rPr lang="en-US" dirty="0"/>
              <a:t>WebDriver is designed to provide a simpler, more concise programming interface in addition to addressing some limitations in the Selenium-RC API.</a:t>
            </a:r>
          </a:p>
          <a:p>
            <a:pPr marL="342900" indent="-342900">
              <a:buFont typeface="Arial" panose="020B0604020202020204" pitchFamily="34" charset="0"/>
              <a:buChar char="•"/>
            </a:pPr>
            <a:r>
              <a:rPr lang="en-US" dirty="0"/>
              <a:t>WebDriver’s goal is to supply a well-designed object-oriented API that provides improved support for modern advanced web-app testing problems.</a:t>
            </a:r>
          </a:p>
          <a:p>
            <a:pPr marL="342900" indent="-342900">
              <a:buFont typeface="Arial" panose="020B0604020202020204" pitchFamily="34" charset="0"/>
              <a:buChar char="•"/>
            </a:pPr>
            <a:endParaRPr lang="en-US" dirty="0"/>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Tree>
    <p:extLst>
      <p:ext uri="{BB962C8B-B14F-4D97-AF65-F5344CB8AC3E}">
        <p14:creationId xmlns:p14="http://schemas.microsoft.com/office/powerpoint/2010/main" val="2652892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rivers</a:t>
            </a:r>
          </a:p>
        </p:txBody>
      </p:sp>
    </p:spTree>
    <p:extLst>
      <p:ext uri="{BB962C8B-B14F-4D97-AF65-F5344CB8AC3E}">
        <p14:creationId xmlns:p14="http://schemas.microsoft.com/office/powerpoint/2010/main" val="120622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rivers</a:t>
            </a:r>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110" name="Text Placeholder 109"/>
          <p:cNvSpPr>
            <a:spLocks noGrp="1"/>
          </p:cNvSpPr>
          <p:nvPr>
            <p:ph type="body" sz="quarter" idx="10"/>
          </p:nvPr>
        </p:nvSpPr>
        <p:spPr/>
        <p:txBody>
          <a:bodyPr/>
          <a:lstStyle/>
          <a:p>
            <a:endParaRPr lang="en-US" dirty="0"/>
          </a:p>
        </p:txBody>
      </p:sp>
      <p:pic>
        <p:nvPicPr>
          <p:cNvPr id="117" name="Picture 116"/>
          <p:cNvPicPr>
            <a:picLocks noChangeAspect="1"/>
          </p:cNvPicPr>
          <p:nvPr/>
        </p:nvPicPr>
        <p:blipFill>
          <a:blip r:embed="rId2"/>
          <a:stretch>
            <a:fillRect/>
          </a:stretch>
        </p:blipFill>
        <p:spPr>
          <a:xfrm>
            <a:off x="1741483" y="507492"/>
            <a:ext cx="8709033" cy="6040482"/>
          </a:xfrm>
          <a:prstGeom prst="rect">
            <a:avLst/>
          </a:prstGeom>
        </p:spPr>
      </p:pic>
    </p:spTree>
    <p:extLst>
      <p:ext uri="{BB962C8B-B14F-4D97-AF65-F5344CB8AC3E}">
        <p14:creationId xmlns:p14="http://schemas.microsoft.com/office/powerpoint/2010/main" val="4266345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LENIUM GRID</a:t>
            </a:r>
          </a:p>
        </p:txBody>
      </p:sp>
    </p:spTree>
    <p:extLst>
      <p:ext uri="{BB962C8B-B14F-4D97-AF65-F5344CB8AC3E}">
        <p14:creationId xmlns:p14="http://schemas.microsoft.com/office/powerpoint/2010/main" val="2505388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LENIUM GRID</a:t>
            </a:r>
          </a:p>
        </p:txBody>
      </p:sp>
      <p:sp>
        <p:nvSpPr>
          <p:cNvPr id="4" name="Text Placeholder 3"/>
          <p:cNvSpPr>
            <a:spLocks noGrp="1"/>
          </p:cNvSpPr>
          <p:nvPr>
            <p:ph type="body" sz="quarter" idx="10"/>
          </p:nvPr>
        </p:nvSpPr>
        <p:spPr/>
        <p:txBody>
          <a:bodyPr/>
          <a:lstStyle/>
          <a:p>
            <a:pPr marL="342900" indent="-342900" algn="just">
              <a:buFont typeface="Arial" panose="020B0604020202020204" pitchFamily="34" charset="0"/>
              <a:buChar char="•"/>
            </a:pPr>
            <a:r>
              <a:rPr lang="en-US" dirty="0">
                <a:latin typeface="DilleniaUPC" panose="02020603050405020304" pitchFamily="18" charset="-34"/>
                <a:cs typeface="DilleniaUPC" panose="02020603050405020304" pitchFamily="18" charset="-34"/>
              </a:rPr>
              <a:t>Selenium-Grid allows you run your tests on different machines against different browsers in parallel. That is, running multiple tests at the same time against different machines running different browsers and operating systems. Essentially, Selenium-Grid support distributed test execution.</a:t>
            </a:r>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Tree>
    <p:extLst>
      <p:ext uri="{BB962C8B-B14F-4D97-AF65-F5344CB8AC3E}">
        <p14:creationId xmlns:p14="http://schemas.microsoft.com/office/powerpoint/2010/main" val="1452145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pic>
        <p:nvPicPr>
          <p:cNvPr id="2" name="Picture 1"/>
          <p:cNvPicPr>
            <a:picLocks noChangeAspect="1"/>
          </p:cNvPicPr>
          <p:nvPr/>
        </p:nvPicPr>
        <p:blipFill>
          <a:blip r:embed="rId2"/>
          <a:stretch>
            <a:fillRect/>
          </a:stretch>
        </p:blipFill>
        <p:spPr>
          <a:xfrm>
            <a:off x="530517" y="-75238"/>
            <a:ext cx="11352203" cy="6858000"/>
          </a:xfrm>
          <a:prstGeom prst="rect">
            <a:avLst/>
          </a:prstGeom>
        </p:spPr>
      </p:pic>
    </p:spTree>
    <p:extLst>
      <p:ext uri="{BB962C8B-B14F-4D97-AF65-F5344CB8AC3E}">
        <p14:creationId xmlns:p14="http://schemas.microsoft.com/office/powerpoint/2010/main" val="2019894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3296" y="539496"/>
            <a:ext cx="6258346" cy="6035040"/>
          </a:xfrm>
        </p:spPr>
        <p:txBody>
          <a:bodyPr/>
          <a:lstStyle/>
          <a:p>
            <a:r>
              <a:rPr lang="en-US" dirty="0"/>
              <a:t>DEVOPS TESTING AUTOMATION -</a:t>
            </a:r>
            <a:br>
              <a:rPr lang="en-US" dirty="0"/>
            </a:br>
            <a:r>
              <a:rPr lang="en-GB" dirty="0"/>
              <a:t>Selenium</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444" y="2582744"/>
            <a:ext cx="1948543" cy="1948543"/>
          </a:xfrm>
          <a:prstGeom prst="rect">
            <a:avLst/>
          </a:prstGeom>
        </p:spPr>
      </p:pic>
    </p:spTree>
    <p:extLst>
      <p:ext uri="{BB962C8B-B14F-4D97-AF65-F5344CB8AC3E}">
        <p14:creationId xmlns:p14="http://schemas.microsoft.com/office/powerpoint/2010/main" val="515038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ference</a:t>
            </a:r>
          </a:p>
        </p:txBody>
      </p:sp>
    </p:spTree>
    <p:extLst>
      <p:ext uri="{BB962C8B-B14F-4D97-AF65-F5344CB8AC3E}">
        <p14:creationId xmlns:p14="http://schemas.microsoft.com/office/powerpoint/2010/main" val="3031234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ference</a:t>
            </a:r>
          </a:p>
        </p:txBody>
      </p:sp>
      <p:sp>
        <p:nvSpPr>
          <p:cNvPr id="4" name="Text Placeholder 3"/>
          <p:cNvSpPr>
            <a:spLocks noGrp="1"/>
          </p:cNvSpPr>
          <p:nvPr>
            <p:ph type="body" sz="quarter" idx="10"/>
          </p:nvPr>
        </p:nvSpPr>
        <p:spPr/>
        <p:txBody>
          <a:bodyPr/>
          <a:lstStyle/>
          <a:p>
            <a:pPr algn="just"/>
            <a:r>
              <a:rPr lang="en-US" dirty="0">
                <a:latin typeface="DilleniaUPC" panose="02020603050405020304" pitchFamily="18" charset="-34"/>
                <a:cs typeface="DilleniaUPC" panose="02020603050405020304" pitchFamily="18" charset="-34"/>
                <a:hlinkClick r:id="rId2"/>
              </a:rPr>
              <a:t>http://www.seleniumhq.org/</a:t>
            </a:r>
            <a:r>
              <a:rPr lang="en-US" dirty="0">
                <a:latin typeface="DilleniaUPC" panose="02020603050405020304" pitchFamily="18" charset="-34"/>
                <a:cs typeface="DilleniaUPC" panose="02020603050405020304" pitchFamily="18" charset="-34"/>
              </a:rPr>
              <a:t> </a:t>
            </a:r>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Tree>
    <p:extLst>
      <p:ext uri="{BB962C8B-B14F-4D97-AF65-F5344CB8AC3E}">
        <p14:creationId xmlns:p14="http://schemas.microsoft.com/office/powerpoint/2010/main" val="116843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graphicFrame>
        <p:nvGraphicFramePr>
          <p:cNvPr id="8" name="Diagram 7"/>
          <p:cNvGraphicFramePr/>
          <p:nvPr>
            <p:extLst>
              <p:ext uri="{D42A27DB-BD31-4B8C-83A1-F6EECF244321}">
                <p14:modId xmlns:p14="http://schemas.microsoft.com/office/powerpoint/2010/main" val="3302175635"/>
              </p:ext>
            </p:extLst>
          </p:nvPr>
        </p:nvGraphicFramePr>
        <p:xfrm>
          <a:off x="2046514" y="70515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6242" y="2454727"/>
            <a:ext cx="1948543" cy="1948543"/>
          </a:xfrm>
          <a:prstGeom prst="rect">
            <a:avLst/>
          </a:prstGeom>
        </p:spPr>
      </p:pic>
    </p:spTree>
    <p:extLst>
      <p:ext uri="{BB962C8B-B14F-4D97-AF65-F5344CB8AC3E}">
        <p14:creationId xmlns:p14="http://schemas.microsoft.com/office/powerpoint/2010/main" val="77526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8">
                                            <p:graphicEl>
                                              <a:dgm id="{D48EF8BF-5324-4D64-817E-F91EC1DCBAEF}"/>
                                            </p:graphicEl>
                                          </p:spTgt>
                                        </p:tgtEl>
                                        <p:attrNameLst>
                                          <p:attrName>style.visibility</p:attrName>
                                        </p:attrNameLst>
                                      </p:cBhvr>
                                      <p:to>
                                        <p:strVal val="visible"/>
                                      </p:to>
                                    </p:set>
                                    <p:animEffect transition="in" filter="box(in)">
                                      <p:cBhvr>
                                        <p:cTn id="7" dur="500"/>
                                        <p:tgtEl>
                                          <p:spTgt spid="8">
                                            <p:graphicEl>
                                              <a:dgm id="{D48EF8BF-5324-4D64-817E-F91EC1DCBAE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graphicEl>
                                              <a:dgm id="{838F984C-D8DE-4013-983F-475FFC712030}"/>
                                            </p:graphicEl>
                                          </p:spTgt>
                                        </p:tgtEl>
                                        <p:attrNameLst>
                                          <p:attrName>style.visibility</p:attrName>
                                        </p:attrNameLst>
                                      </p:cBhvr>
                                      <p:to>
                                        <p:strVal val="visible"/>
                                      </p:to>
                                    </p:set>
                                    <p:animEffect transition="in" filter="box(in)">
                                      <p:cBhvr>
                                        <p:cTn id="12" dur="500"/>
                                        <p:tgtEl>
                                          <p:spTgt spid="8">
                                            <p:graphicEl>
                                              <a:dgm id="{838F984C-D8DE-4013-983F-475FFC7120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8">
                                            <p:graphicEl>
                                              <a:dgm id="{0A37FEDA-6266-4E60-BF79-FC689FEF1EF4}"/>
                                            </p:graphicEl>
                                          </p:spTgt>
                                        </p:tgtEl>
                                        <p:attrNameLst>
                                          <p:attrName>style.visibility</p:attrName>
                                        </p:attrNameLst>
                                      </p:cBhvr>
                                      <p:to>
                                        <p:strVal val="visible"/>
                                      </p:to>
                                    </p:set>
                                    <p:animEffect transition="in" filter="box(in)">
                                      <p:cBhvr>
                                        <p:cTn id="17" dur="500"/>
                                        <p:tgtEl>
                                          <p:spTgt spid="8">
                                            <p:graphicEl>
                                              <a:dgm id="{0A37FEDA-6266-4E60-BF79-FC689FEF1EF4}"/>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8">
                                            <p:graphicEl>
                                              <a:dgm id="{791099EC-C976-4D4E-AD11-1679A81D128D}"/>
                                            </p:graphicEl>
                                          </p:spTgt>
                                        </p:tgtEl>
                                        <p:attrNameLst>
                                          <p:attrName>style.visibility</p:attrName>
                                        </p:attrNameLst>
                                      </p:cBhvr>
                                      <p:to>
                                        <p:strVal val="visible"/>
                                      </p:to>
                                    </p:set>
                                    <p:animEffect transition="in" filter="box(in)">
                                      <p:cBhvr>
                                        <p:cTn id="22" dur="500"/>
                                        <p:tgtEl>
                                          <p:spTgt spid="8">
                                            <p:graphicEl>
                                              <a:dgm id="{791099EC-C976-4D4E-AD11-1679A81D128D}"/>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8">
                                            <p:graphicEl>
                                              <a:dgm id="{9AC5FAB6-BBC5-4727-AADA-5695596274E9}"/>
                                            </p:graphicEl>
                                          </p:spTgt>
                                        </p:tgtEl>
                                        <p:attrNameLst>
                                          <p:attrName>style.visibility</p:attrName>
                                        </p:attrNameLst>
                                      </p:cBhvr>
                                      <p:to>
                                        <p:strVal val="visible"/>
                                      </p:to>
                                    </p:set>
                                    <p:animEffect transition="in" filter="box(in)">
                                      <p:cBhvr>
                                        <p:cTn id="27" dur="500"/>
                                        <p:tgtEl>
                                          <p:spTgt spid="8">
                                            <p:graphicEl>
                                              <a:dgm id="{9AC5FAB6-BBC5-4727-AADA-5695596274E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0" y="0"/>
            <a:ext cx="12192000" cy="1719072"/>
          </a:xfrm>
          <a:prstGeom prst="rect">
            <a:avLst/>
          </a:prstGeom>
          <a:gradFill flip="none" rotWithShape="1">
            <a:gsLst>
              <a:gs pos="0">
                <a:srgbClr val="AC0000"/>
              </a:gs>
              <a:gs pos="54000">
                <a:srgbClr val="FF4343"/>
              </a:gs>
              <a:gs pos="83000">
                <a:srgbClr val="AC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1719072"/>
            <a:ext cx="12192000" cy="1719072"/>
          </a:xfrm>
          <a:prstGeom prst="rect">
            <a:avLst/>
          </a:prstGeom>
          <a:gradFill flip="none" rotWithShape="1">
            <a:gsLst>
              <a:gs pos="0">
                <a:srgbClr val="0070C0"/>
              </a:gs>
              <a:gs pos="54000">
                <a:srgbClr val="0594FF"/>
              </a:gs>
              <a:gs pos="83000">
                <a:srgbClr val="0070C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3438144"/>
            <a:ext cx="12192000" cy="1719072"/>
          </a:xfrm>
          <a:prstGeom prst="rect">
            <a:avLst/>
          </a:prstGeom>
          <a:gradFill flip="none" rotWithShape="1">
            <a:gsLst>
              <a:gs pos="0">
                <a:schemeClr val="accent2">
                  <a:lumMod val="75000"/>
                </a:schemeClr>
              </a:gs>
              <a:gs pos="54000">
                <a:srgbClr val="F29B60"/>
              </a:gs>
              <a:gs pos="83000">
                <a:schemeClr val="accent2">
                  <a:lumMod val="7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5157216"/>
            <a:ext cx="12192000" cy="1719072"/>
          </a:xfrm>
          <a:prstGeom prst="rect">
            <a:avLst/>
          </a:prstGeom>
          <a:gradFill flip="none" rotWithShape="1">
            <a:gsLst>
              <a:gs pos="0">
                <a:srgbClr val="008000"/>
              </a:gs>
              <a:gs pos="54000">
                <a:srgbClr val="00A400"/>
              </a:gs>
              <a:gs pos="83000">
                <a:srgbClr val="008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0668000" y="0"/>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p:cNvSpPr/>
          <p:nvPr/>
        </p:nvSpPr>
        <p:spPr>
          <a:xfrm rot="10800000">
            <a:off x="10668000" y="1304923"/>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0839361" y="-41432"/>
            <a:ext cx="923651" cy="1569660"/>
          </a:xfrm>
          <a:prstGeom prst="rect">
            <a:avLst/>
          </a:prstGeom>
          <a:noFill/>
        </p:spPr>
        <p:txBody>
          <a:bodyPr wrap="none" lIns="91440" tIns="45720" rIns="91440" bIns="45720">
            <a:spAutoFit/>
          </a:bodyPr>
          <a:lstStyle/>
          <a:p>
            <a:pPr algn="ctr"/>
            <a:r>
              <a:rPr lang="en-US" sz="9600" b="1" cap="none" spc="0" dirty="0">
                <a:ln w="0"/>
                <a:solidFill>
                  <a:srgbClr val="B00303"/>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1</a:t>
            </a:r>
          </a:p>
        </p:txBody>
      </p:sp>
      <p:sp>
        <p:nvSpPr>
          <p:cNvPr id="16" name="Rectangle 15"/>
          <p:cNvSpPr/>
          <p:nvPr/>
        </p:nvSpPr>
        <p:spPr>
          <a:xfrm>
            <a:off x="0" y="1719072"/>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203396" y="1690279"/>
            <a:ext cx="1295400" cy="1697192"/>
            <a:chOff x="0" y="1680972"/>
            <a:chExt cx="1295400" cy="1697192"/>
          </a:xfrm>
        </p:grpSpPr>
        <p:sp>
          <p:nvSpPr>
            <p:cNvPr id="17" name="Rectangle 16"/>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a:ln w="0"/>
                  <a:solidFill>
                    <a:srgbClr val="0594FF"/>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2</a:t>
              </a:r>
            </a:p>
          </p:txBody>
        </p:sp>
      </p:grpSp>
      <p:sp>
        <p:nvSpPr>
          <p:cNvPr id="21" name="Rectangle 20"/>
          <p:cNvSpPr/>
          <p:nvPr/>
        </p:nvSpPr>
        <p:spPr>
          <a:xfrm>
            <a:off x="0" y="3437261"/>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p:nvGrpSpPr>
        <p:grpSpPr>
          <a:xfrm>
            <a:off x="10653486" y="3405999"/>
            <a:ext cx="1295400" cy="1697192"/>
            <a:chOff x="0" y="1680972"/>
            <a:chExt cx="1295400" cy="1697192"/>
          </a:xfrm>
        </p:grpSpPr>
        <p:sp>
          <p:nvSpPr>
            <p:cNvPr id="23" name="Rectangle 22"/>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a:ln w="0"/>
                  <a:solidFill>
                    <a:schemeClr val="accent2">
                      <a:lumMod val="75000"/>
                    </a:schemeClr>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3</a:t>
              </a:r>
            </a:p>
          </p:txBody>
        </p:sp>
      </p:grpSp>
      <p:grpSp>
        <p:nvGrpSpPr>
          <p:cNvPr id="26" name="Group 25"/>
          <p:cNvGrpSpPr/>
          <p:nvPr/>
        </p:nvGrpSpPr>
        <p:grpSpPr>
          <a:xfrm>
            <a:off x="233854" y="5088331"/>
            <a:ext cx="1295400" cy="1697192"/>
            <a:chOff x="0" y="1680972"/>
            <a:chExt cx="1295400" cy="1697192"/>
          </a:xfrm>
        </p:grpSpPr>
        <p:sp>
          <p:nvSpPr>
            <p:cNvPr id="27" name="Rectangle 26"/>
            <p:cNvSpPr/>
            <p:nvPr/>
          </p:nvSpPr>
          <p:spPr>
            <a:xfrm>
              <a:off x="0" y="1722404"/>
              <a:ext cx="1295400" cy="1304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p:cNvSpPr/>
            <p:nvPr/>
          </p:nvSpPr>
          <p:spPr>
            <a:xfrm rot="10800000">
              <a:off x="0" y="3027327"/>
              <a:ext cx="1295400" cy="350837"/>
            </a:xfrm>
            <a:prstGeom prst="triangle">
              <a:avLst>
                <a:gd name="adj" fmla="val 5131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171361" y="1680972"/>
              <a:ext cx="923651" cy="1569660"/>
            </a:xfrm>
            <a:prstGeom prst="rect">
              <a:avLst/>
            </a:prstGeom>
            <a:noFill/>
          </p:spPr>
          <p:txBody>
            <a:bodyPr wrap="none" lIns="91440" tIns="45720" rIns="91440" bIns="45720">
              <a:spAutoFit/>
            </a:bodyPr>
            <a:lstStyle/>
            <a:p>
              <a:pPr algn="ctr"/>
              <a:r>
                <a:rPr lang="en-US" sz="9600" b="1" cap="none" spc="0" dirty="0">
                  <a:ln w="0"/>
                  <a:solidFill>
                    <a:srgbClr val="00A400"/>
                  </a:solidFill>
                  <a:effectLst>
                    <a:outerShdw blurRad="38100" dist="19050" dir="2700000" algn="tl" rotWithShape="0">
                      <a:schemeClr val="dk1">
                        <a:alpha val="40000"/>
                      </a:schemeClr>
                    </a:outerShdw>
                  </a:effectLst>
                  <a:latin typeface="Courier New" panose="02070309020205020404" pitchFamily="49" charset="0"/>
                  <a:cs typeface="Courier New" panose="02070309020205020404" pitchFamily="49" charset="0"/>
                </a:rPr>
                <a:t>4</a:t>
              </a:r>
            </a:p>
          </p:txBody>
        </p:sp>
      </p:grpSp>
      <p:sp>
        <p:nvSpPr>
          <p:cNvPr id="30" name="Rectangle 29"/>
          <p:cNvSpPr/>
          <p:nvPr/>
        </p:nvSpPr>
        <p:spPr>
          <a:xfrm>
            <a:off x="0" y="5133938"/>
            <a:ext cx="12192000" cy="127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604912" y="195601"/>
            <a:ext cx="9862700" cy="1815882"/>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Selenium is a suite of testing automation tools used for Web-Based applications: Selenium IDE, Selenium RC, Selenium WebDriver and Selenium Grid.</a:t>
            </a:r>
          </a:p>
          <a:p>
            <a:pPr algn="ctr"/>
            <a:endParaRPr lang="en-US" sz="2800" dirty="0">
              <a:solidFill>
                <a:schemeClr val="bg1"/>
              </a:solidFill>
              <a:latin typeface="Andalus" panose="02020603050405020304" pitchFamily="18" charset="-78"/>
              <a:cs typeface="Andalus" panose="02020603050405020304" pitchFamily="18" charset="-78"/>
            </a:endParaRPr>
          </a:p>
        </p:txBody>
      </p:sp>
      <p:sp>
        <p:nvSpPr>
          <p:cNvPr id="32" name="TextBox 31"/>
          <p:cNvSpPr txBox="1"/>
          <p:nvPr/>
        </p:nvSpPr>
        <p:spPr>
          <a:xfrm>
            <a:off x="1684225" y="2091561"/>
            <a:ext cx="9862700" cy="954107"/>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These tools provide a rich set of testing functions specifically geared to varied testing scenarios of all types of Web applications. </a:t>
            </a:r>
          </a:p>
        </p:txBody>
      </p:sp>
      <p:sp>
        <p:nvSpPr>
          <p:cNvPr id="33" name="TextBox 32"/>
          <p:cNvSpPr txBox="1"/>
          <p:nvPr/>
        </p:nvSpPr>
        <p:spPr>
          <a:xfrm>
            <a:off x="916124" y="3651873"/>
            <a:ext cx="9862700" cy="1384995"/>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The operations provided by these tools are highly flexible and afford many options for comparing UI elements to expected application behavior</a:t>
            </a:r>
          </a:p>
        </p:txBody>
      </p:sp>
      <p:sp>
        <p:nvSpPr>
          <p:cNvPr id="34" name="TextBox 33"/>
          <p:cNvSpPr txBox="1"/>
          <p:nvPr/>
        </p:nvSpPr>
        <p:spPr>
          <a:xfrm>
            <a:off x="1387057" y="5709129"/>
            <a:ext cx="9862700" cy="523220"/>
          </a:xfrm>
          <a:prstGeom prst="rect">
            <a:avLst/>
          </a:prstGeom>
          <a:noFill/>
        </p:spPr>
        <p:txBody>
          <a:bodyPr wrap="square" rtlCol="0">
            <a:spAutoFit/>
          </a:bodyPr>
          <a:lstStyle/>
          <a:p>
            <a:pPr algn="ctr"/>
            <a:r>
              <a:rPr lang="en-US" sz="2800" dirty="0">
                <a:solidFill>
                  <a:schemeClr val="bg1"/>
                </a:solidFill>
                <a:latin typeface="Andalus" panose="02020603050405020304" pitchFamily="18" charset="-78"/>
                <a:cs typeface="Andalus" panose="02020603050405020304" pitchFamily="18" charset="-78"/>
              </a:rPr>
              <a:t>Selenium tests can be executed on multiple browser platforms</a:t>
            </a:r>
          </a:p>
        </p:txBody>
      </p:sp>
    </p:spTree>
    <p:extLst>
      <p:ext uri="{BB962C8B-B14F-4D97-AF65-F5344CB8AC3E}">
        <p14:creationId xmlns:p14="http://schemas.microsoft.com/office/powerpoint/2010/main" val="609846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eadline statement</a:t>
            </a:r>
            <a:endParaRPr lang="en-US" dirty="0"/>
          </a:p>
        </p:txBody>
      </p:sp>
      <p:sp>
        <p:nvSpPr>
          <p:cNvPr id="4" name="Text Placeholder 3"/>
          <p:cNvSpPr>
            <a:spLocks noGrp="1"/>
          </p:cNvSpPr>
          <p:nvPr>
            <p:ph type="body" sz="quarter" idx="10"/>
          </p:nvPr>
        </p:nvSpPr>
        <p:spPr/>
        <p:txBody>
          <a:bodyPr/>
          <a:lstStyle/>
          <a:p>
            <a:r>
              <a:rPr lang="en-US"/>
              <a:t>Detailed statement</a:t>
            </a:r>
            <a:endParaRPr lang="en-US" dirty="0"/>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15" name="Pentagon 12"/>
          <p:cNvSpPr/>
          <p:nvPr/>
        </p:nvSpPr>
        <p:spPr>
          <a:xfrm flipH="1">
            <a:off x="7600950" y="4739911"/>
            <a:ext cx="4425266" cy="1280160"/>
          </a:xfrm>
          <a:prstGeom prst="homePlate">
            <a:avLst/>
          </a:prstGeom>
          <a:solidFill>
            <a:sysClr val="windowText" lastClr="000000"/>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 name="Pentagon 9"/>
          <p:cNvSpPr/>
          <p:nvPr/>
        </p:nvSpPr>
        <p:spPr>
          <a:xfrm flipH="1">
            <a:off x="7600950" y="2835301"/>
            <a:ext cx="4425266" cy="1280160"/>
          </a:xfrm>
          <a:prstGeom prst="homePlate">
            <a:avLst/>
          </a:prstGeom>
          <a:solidFill>
            <a:sysClr val="windowText" lastClr="000000"/>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 name="Pentagon 8"/>
          <p:cNvSpPr/>
          <p:nvPr/>
        </p:nvSpPr>
        <p:spPr>
          <a:xfrm flipH="1">
            <a:off x="7600950" y="947155"/>
            <a:ext cx="4425266" cy="1280160"/>
          </a:xfrm>
          <a:prstGeom prst="homePlate">
            <a:avLst/>
          </a:prstGeom>
          <a:solidFill>
            <a:sysClr val="windowText" lastClr="000000"/>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8" name="Diagram 17"/>
          <p:cNvGraphicFramePr/>
          <p:nvPr>
            <p:extLst>
              <p:ext uri="{D42A27DB-BD31-4B8C-83A1-F6EECF244321}">
                <p14:modId xmlns:p14="http://schemas.microsoft.com/office/powerpoint/2010/main" val="707087502"/>
              </p:ext>
            </p:extLst>
          </p:nvPr>
        </p:nvGraphicFramePr>
        <p:xfrm>
          <a:off x="0" y="69016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Pentagon 5"/>
          <p:cNvSpPr/>
          <p:nvPr/>
        </p:nvSpPr>
        <p:spPr>
          <a:xfrm flipH="1">
            <a:off x="7600950" y="863112"/>
            <a:ext cx="4425266" cy="1280160"/>
          </a:xfrm>
          <a:prstGeom prst="homePlate">
            <a:avLst/>
          </a:prstGeom>
          <a:solidFill>
            <a:srgbClr val="FFC000">
              <a:lumMod val="60000"/>
              <a:lumOff val="40000"/>
            </a:srgbClr>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Selenium IDE (Integrated Development Environment) is a prototyping tool for building test scripts.</a:t>
            </a:r>
          </a:p>
        </p:txBody>
      </p:sp>
      <p:sp>
        <p:nvSpPr>
          <p:cNvPr id="20" name="Pentagon 6"/>
          <p:cNvSpPr/>
          <p:nvPr/>
        </p:nvSpPr>
        <p:spPr>
          <a:xfrm flipH="1">
            <a:off x="7600950" y="2759422"/>
            <a:ext cx="4425266" cy="1280160"/>
          </a:xfrm>
          <a:prstGeom prst="homePlate">
            <a:avLst/>
          </a:prstGeom>
          <a:solidFill>
            <a:srgbClr val="FFC000">
              <a:lumMod val="60000"/>
              <a:lumOff val="40000"/>
            </a:srgbClr>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WebDriver is designed in a simpler and more concise programming interface along with Selenium-RC API.</a:t>
            </a:r>
          </a:p>
        </p:txBody>
      </p:sp>
      <p:sp>
        <p:nvSpPr>
          <p:cNvPr id="21" name="Pentagon 7"/>
          <p:cNvSpPr/>
          <p:nvPr/>
        </p:nvSpPr>
        <p:spPr>
          <a:xfrm flipH="1">
            <a:off x="7600950" y="4655732"/>
            <a:ext cx="4425266" cy="1280160"/>
          </a:xfrm>
          <a:prstGeom prst="homePlate">
            <a:avLst/>
          </a:prstGeom>
          <a:solidFill>
            <a:srgbClr val="FFC000">
              <a:lumMod val="60000"/>
              <a:lumOff val="40000"/>
            </a:srgbClr>
          </a:solidFill>
          <a:ln w="12700" cap="flat" cmpd="sng" algn="ctr">
            <a:noFill/>
            <a:prstDash val="solid"/>
            <a:miter lim="800000"/>
          </a:ln>
          <a:effectLst/>
        </p:spPr>
        <p:txBody>
          <a:bodyPr lIns="2743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A Grid consists of a single Hub, and one or more Nodes to distribute tests.</a:t>
            </a:r>
          </a:p>
        </p:txBody>
      </p:sp>
    </p:spTree>
    <p:extLst>
      <p:ext uri="{BB962C8B-B14F-4D97-AF65-F5344CB8AC3E}">
        <p14:creationId xmlns:p14="http://schemas.microsoft.com/office/powerpoint/2010/main" val="919722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LENIUM IDE</a:t>
            </a:r>
          </a:p>
        </p:txBody>
      </p:sp>
    </p:spTree>
    <p:extLst>
      <p:ext uri="{BB962C8B-B14F-4D97-AF65-F5344CB8AC3E}">
        <p14:creationId xmlns:p14="http://schemas.microsoft.com/office/powerpoint/2010/main" val="2203757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LENIUM IDE</a:t>
            </a:r>
          </a:p>
        </p:txBody>
      </p:sp>
      <p:sp>
        <p:nvSpPr>
          <p:cNvPr id="4" name="Text Placeholder 3"/>
          <p:cNvSpPr>
            <a:spLocks noGrp="1"/>
          </p:cNvSpPr>
          <p:nvPr>
            <p:ph type="body" sz="quarter" idx="10"/>
          </p:nvPr>
        </p:nvSpPr>
        <p:spPr>
          <a:xfrm>
            <a:off x="5841630" y="1363756"/>
            <a:ext cx="4226859" cy="3610804"/>
          </a:xfrm>
        </p:spPr>
        <p:txBody>
          <a:bodyPr/>
          <a:lstStyle/>
          <a:p>
            <a:pPr marL="342900" indent="-342900" algn="just">
              <a:buFont typeface="Arial" panose="020B0604020202020204" pitchFamily="34" charset="0"/>
              <a:buChar char="•"/>
            </a:pPr>
            <a:r>
              <a:rPr lang="en-US" dirty="0">
                <a:latin typeface="DilleniaUPC" panose="02020603050405020304" pitchFamily="18" charset="-34"/>
                <a:cs typeface="DilleniaUPC" panose="02020603050405020304" pitchFamily="18" charset="-34"/>
              </a:rPr>
              <a:t>The Selenium-IDE (Integrated Development Environment) is the tool you use to develop your Selenium test cases. It’s an easy-to-use Firefox plug-in and is generally the most efficient way to develop test cases.</a:t>
            </a:r>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5553" y="1171181"/>
            <a:ext cx="4105848" cy="5249008"/>
          </a:xfrm>
          <a:prstGeom prst="rect">
            <a:avLst/>
          </a:prstGeom>
        </p:spPr>
      </p:pic>
    </p:spTree>
    <p:extLst>
      <p:ext uri="{BB962C8B-B14F-4D97-AF65-F5344CB8AC3E}">
        <p14:creationId xmlns:p14="http://schemas.microsoft.com/office/powerpoint/2010/main" val="2274175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ELENIUM IDE TOOLBAR</a:t>
            </a:r>
          </a:p>
        </p:txBody>
      </p:sp>
    </p:spTree>
    <p:extLst>
      <p:ext uri="{BB962C8B-B14F-4D97-AF65-F5344CB8AC3E}">
        <p14:creationId xmlns:p14="http://schemas.microsoft.com/office/powerpoint/2010/main" val="436100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LENIUM IDE TOOLBAR</a:t>
            </a:r>
            <a:endParaRPr lang="en-US" dirty="0"/>
          </a:p>
        </p:txBody>
      </p:sp>
      <p:sp>
        <p:nvSpPr>
          <p:cNvPr id="6" name="Footer Placeholder 5"/>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95959">
                    <a:lumMod val="50000"/>
                    <a:lumOff val="50000"/>
                  </a:srgbClr>
                </a:solidFill>
                <a:effectLst/>
                <a:uLnTx/>
                <a:uFillTx/>
                <a:latin typeface="Graphik"/>
                <a:ea typeface="+mn-ea"/>
                <a:cs typeface="+mn-cs"/>
              </a:rPr>
              <a:t>Copyright © 2017 Accenture  All rights reserved.</a:t>
            </a:r>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595959">
                    <a:lumMod val="50000"/>
                    <a:lumOff val="50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595959">
                  <a:lumMod val="50000"/>
                  <a:lumOff val="50000"/>
                </a:srgbClr>
              </a:solidFill>
              <a:effectLst/>
              <a:uLnTx/>
              <a:uFillTx/>
              <a:latin typeface="Graphik"/>
              <a:ea typeface="+mn-ea"/>
              <a:cs typeface="+mn-cs"/>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525" y="1208341"/>
            <a:ext cx="641174" cy="641174"/>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246" y="2117941"/>
            <a:ext cx="641174" cy="641174"/>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525" y="2951341"/>
            <a:ext cx="641174" cy="641174"/>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525" y="3822841"/>
            <a:ext cx="929703" cy="641174"/>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524" y="4751517"/>
            <a:ext cx="929703" cy="641174"/>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0246" y="5623017"/>
            <a:ext cx="2116437" cy="601260"/>
          </a:xfrm>
          <a:prstGeom prst="rect">
            <a:avLst/>
          </a:prstGeom>
        </p:spPr>
      </p:pic>
      <p:sp>
        <p:nvSpPr>
          <p:cNvPr id="14" name="TextBox 13"/>
          <p:cNvSpPr txBox="1"/>
          <p:nvPr/>
        </p:nvSpPr>
        <p:spPr>
          <a:xfrm>
            <a:off x="1537327" y="1239450"/>
            <a:ext cx="8353121" cy="523220"/>
          </a:xfrm>
          <a:prstGeom prst="rect">
            <a:avLst/>
          </a:prstGeom>
          <a:noFill/>
        </p:spPr>
        <p:txBody>
          <a:bodyPr wrap="square" rtlCol="0">
            <a:spAutoFit/>
          </a:bodyPr>
          <a:lstStyle/>
          <a:p>
            <a:r>
              <a:rPr lang="en-US" sz="2800" b="1" dirty="0">
                <a:solidFill>
                  <a:schemeClr val="bg2"/>
                </a:solidFill>
                <a:latin typeface="DilleniaUPC" panose="02020603050405020304" pitchFamily="18" charset="-34"/>
                <a:cs typeface="DilleniaUPC" panose="02020603050405020304" pitchFamily="18" charset="-34"/>
              </a:rPr>
              <a:t>Record</a:t>
            </a:r>
            <a:r>
              <a:rPr lang="en-US" sz="2800" dirty="0">
                <a:solidFill>
                  <a:schemeClr val="bg2"/>
                </a:solidFill>
                <a:latin typeface="DilleniaUPC" panose="02020603050405020304" pitchFamily="18" charset="-34"/>
                <a:cs typeface="DilleniaUPC" panose="02020603050405020304" pitchFamily="18" charset="-34"/>
              </a:rPr>
              <a:t>: Records the user’s browser actions.</a:t>
            </a:r>
          </a:p>
        </p:txBody>
      </p:sp>
      <p:sp>
        <p:nvSpPr>
          <p:cNvPr id="15" name="TextBox 14"/>
          <p:cNvSpPr txBox="1"/>
          <p:nvPr/>
        </p:nvSpPr>
        <p:spPr>
          <a:xfrm>
            <a:off x="1556378" y="1904176"/>
            <a:ext cx="10317604" cy="95410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800" b="1" dirty="0">
                <a:solidFill>
                  <a:schemeClr val="bg2"/>
                </a:solidFill>
              </a:rPr>
              <a:t>Step</a:t>
            </a:r>
            <a:r>
              <a:rPr lang="en-US" sz="2800" dirty="0">
                <a:solidFill>
                  <a:schemeClr val="bg2"/>
                </a:solidFill>
              </a:rPr>
              <a:t>: Allows you to “step” through a test case by running it one command at a time. Use for debugging test cases.</a:t>
            </a:r>
          </a:p>
        </p:txBody>
      </p:sp>
      <p:sp>
        <p:nvSpPr>
          <p:cNvPr id="16" name="TextBox 15"/>
          <p:cNvSpPr txBox="1"/>
          <p:nvPr/>
        </p:nvSpPr>
        <p:spPr>
          <a:xfrm>
            <a:off x="1556378" y="2883942"/>
            <a:ext cx="10464462" cy="95410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800" b="1" dirty="0">
                <a:solidFill>
                  <a:schemeClr val="bg2"/>
                </a:solidFill>
              </a:rPr>
              <a:t>Pause/Resume</a:t>
            </a:r>
            <a:r>
              <a:rPr lang="en-US" sz="2800" dirty="0">
                <a:solidFill>
                  <a:schemeClr val="bg2"/>
                </a:solidFill>
              </a:rPr>
              <a:t>: Allows stopping and re-starting of a running test case.</a:t>
            </a:r>
          </a:p>
        </p:txBody>
      </p:sp>
      <p:sp>
        <p:nvSpPr>
          <p:cNvPr id="17" name="TextBox 16"/>
          <p:cNvSpPr txBox="1"/>
          <p:nvPr/>
        </p:nvSpPr>
        <p:spPr>
          <a:xfrm>
            <a:off x="1649226" y="3660540"/>
            <a:ext cx="10224755" cy="95410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800" b="1" dirty="0">
                <a:solidFill>
                  <a:schemeClr val="bg2"/>
                </a:solidFill>
              </a:rPr>
              <a:t>Run</a:t>
            </a:r>
            <a:r>
              <a:rPr lang="en-US" sz="2800" dirty="0">
                <a:solidFill>
                  <a:schemeClr val="bg2"/>
                </a:solidFill>
              </a:rPr>
              <a:t>: Runs the currently selected test. When only a single test is loaded this button and the Run All button have the same effect.</a:t>
            </a:r>
          </a:p>
        </p:txBody>
      </p:sp>
      <p:sp>
        <p:nvSpPr>
          <p:cNvPr id="18" name="TextBox 17"/>
          <p:cNvSpPr txBox="1"/>
          <p:nvPr/>
        </p:nvSpPr>
        <p:spPr>
          <a:xfrm>
            <a:off x="1657181" y="4631132"/>
            <a:ext cx="10262855" cy="954107"/>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800" b="1" dirty="0">
                <a:solidFill>
                  <a:schemeClr val="bg2"/>
                </a:solidFill>
              </a:rPr>
              <a:t>Run All</a:t>
            </a:r>
            <a:r>
              <a:rPr lang="en-US" sz="2800" dirty="0">
                <a:solidFill>
                  <a:schemeClr val="bg2"/>
                </a:solidFill>
              </a:rPr>
              <a:t>: Runs the entire test suite when a test suite with multiple test cases is loaded.</a:t>
            </a:r>
          </a:p>
        </p:txBody>
      </p:sp>
      <p:sp>
        <p:nvSpPr>
          <p:cNvPr id="19" name="TextBox 18"/>
          <p:cNvSpPr txBox="1"/>
          <p:nvPr/>
        </p:nvSpPr>
        <p:spPr>
          <a:xfrm>
            <a:off x="2846683" y="5639502"/>
            <a:ext cx="9027298" cy="523220"/>
          </a:xfrm>
          <a:prstGeom prst="rect">
            <a:avLst/>
          </a:prstGeom>
          <a:noFill/>
        </p:spPr>
        <p:txBody>
          <a:bodyPr wrap="square" rtlCol="0">
            <a:spAutoFit/>
          </a:bodyPr>
          <a:lstStyle>
            <a:defPPr>
              <a:defRPr lang="en-US"/>
            </a:defPPr>
            <a:lvl1pPr>
              <a:defRPr sz="3200">
                <a:latin typeface="DilleniaUPC" panose="02020603050405020304" pitchFamily="18" charset="-34"/>
                <a:cs typeface="DilleniaUPC" panose="02020603050405020304" pitchFamily="18" charset="-34"/>
              </a:defRPr>
            </a:lvl1pPr>
          </a:lstStyle>
          <a:p>
            <a:r>
              <a:rPr lang="en-US" sz="2800" b="1" dirty="0">
                <a:solidFill>
                  <a:schemeClr val="bg2"/>
                </a:solidFill>
              </a:rPr>
              <a:t>Speed Control</a:t>
            </a:r>
            <a:r>
              <a:rPr lang="en-US" sz="2800" dirty="0">
                <a:solidFill>
                  <a:schemeClr val="bg2"/>
                </a:solidFill>
              </a:rPr>
              <a:t>: controls how fast your test case runs.</a:t>
            </a:r>
          </a:p>
        </p:txBody>
      </p:sp>
    </p:spTree>
    <p:extLst>
      <p:ext uri="{BB962C8B-B14F-4D97-AF65-F5344CB8AC3E}">
        <p14:creationId xmlns:p14="http://schemas.microsoft.com/office/powerpoint/2010/main" val="1692201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D18B4BFBE44CB4787AA86045C9A6063" ma:contentTypeVersion="10" ma:contentTypeDescription="Create a new document." ma:contentTypeScope="" ma:versionID="907aab2d9ea0650ff8ff7406fdc26b47">
  <xsd:schema xmlns:xsd="http://www.w3.org/2001/XMLSchema" xmlns:xs="http://www.w3.org/2001/XMLSchema" xmlns:p="http://schemas.microsoft.com/office/2006/metadata/properties" xmlns:ns2="9b901641-0d09-466e-84cb-a5070d83a351" xmlns:ns3="654ae466-f20b-489a-860c-ab06bbeb57a1" targetNamespace="http://schemas.microsoft.com/office/2006/metadata/properties" ma:root="true" ma:fieldsID="b5ccca5cb7444fd9b29b3d642876a9f6" ns2:_="" ns3:_="">
    <xsd:import namespace="9b901641-0d09-466e-84cb-a5070d83a351"/>
    <xsd:import namespace="654ae466-f20b-489a-860c-ab06bbeb57a1"/>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901641-0d09-466e-84cb-a5070d83a35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4ae466-f20b-489a-860c-ab06bbeb57a1"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0D4BD2-ED61-4E0E-A356-900438B485B6}">
  <ds:schemaRefs>
    <ds:schemaRef ds:uri="http://schemas.microsoft.com/sharepoint/v3/contenttype/forms"/>
  </ds:schemaRefs>
</ds:datastoreItem>
</file>

<file path=customXml/itemProps2.xml><?xml version="1.0" encoding="utf-8"?>
<ds:datastoreItem xmlns:ds="http://schemas.openxmlformats.org/officeDocument/2006/customXml" ds:itemID="{2B1767CB-53F1-4D4E-ACA1-3B04C41933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E02FD14-6F99-427D-B4B6-D032F17D5CDB}"/>
</file>

<file path=docProps/app.xml><?xml version="1.0" encoding="utf-8"?>
<Properties xmlns="http://schemas.openxmlformats.org/officeDocument/2006/extended-properties" xmlns:vt="http://schemas.openxmlformats.org/officeDocument/2006/docPropsVTypes">
  <TotalTime>935</TotalTime>
  <Words>539</Words>
  <Application>Microsoft Office PowerPoint</Application>
  <PresentationFormat>Widescreen</PresentationFormat>
  <Paragraphs>72</Paragraphs>
  <Slides>21</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ndalus</vt:lpstr>
      <vt:lpstr>Arial</vt:lpstr>
      <vt:lpstr>Calibri</vt:lpstr>
      <vt:lpstr>Calibri Light</vt:lpstr>
      <vt:lpstr>Courier New</vt:lpstr>
      <vt:lpstr>DilleniaUPC</vt:lpstr>
      <vt:lpstr>Graphik</vt:lpstr>
      <vt:lpstr>Graphik Black</vt:lpstr>
      <vt:lpstr>Office Theme</vt:lpstr>
      <vt:lpstr>MAIN MASTER - BLACK</vt:lpstr>
      <vt:lpstr>think-cell Slide</vt:lpstr>
      <vt:lpstr>Selenium</vt:lpstr>
      <vt:lpstr>DEVOPS TESTING AUTOMATION - Selenium</vt:lpstr>
      <vt:lpstr>PowerPoint Presentation</vt:lpstr>
      <vt:lpstr>PowerPoint Presentation</vt:lpstr>
      <vt:lpstr>Headline statement</vt:lpstr>
      <vt:lpstr>SELENIUM IDE</vt:lpstr>
      <vt:lpstr>SELENIUM IDE</vt:lpstr>
      <vt:lpstr>SELENIUM IDE TOOLBAR</vt:lpstr>
      <vt:lpstr>SELENIUM IDE TOOLBAR</vt:lpstr>
      <vt:lpstr>PowerPoint Presentation</vt:lpstr>
      <vt:lpstr>EXPORTED TEST SUITE RESULTS</vt:lpstr>
      <vt:lpstr>EXPORTED TEST SUITE RESULTS</vt:lpstr>
      <vt:lpstr>SELENIUM WEBDRIVER</vt:lpstr>
      <vt:lpstr>SELENIUM WEBDRIVER</vt:lpstr>
      <vt:lpstr>Drivers</vt:lpstr>
      <vt:lpstr>Drivers</vt:lpstr>
      <vt:lpstr>SELENIUM GRID</vt:lpstr>
      <vt:lpstr>SELENIUM GRID</vt:lpstr>
      <vt:lpstr>PowerPoint Presentation</vt:lpstr>
      <vt:lpstr>Reference</vt:lpstr>
      <vt:lpstr>Reference</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anda, John Paul S.</dc:creator>
  <cp:lastModifiedBy>Bernabe, Darell J. C.</cp:lastModifiedBy>
  <cp:revision>48</cp:revision>
  <dcterms:created xsi:type="dcterms:W3CDTF">2015-09-23T05:57:58Z</dcterms:created>
  <dcterms:modified xsi:type="dcterms:W3CDTF">2017-08-25T12: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18B4BFBE44CB4787AA86045C9A6063</vt:lpwstr>
  </property>
  <property fmtid="{D5CDD505-2E9C-101B-9397-08002B2CF9AE}" pid="3" name="Order">
    <vt:r8>191100</vt:r8>
  </property>
  <property fmtid="{D5CDD505-2E9C-101B-9397-08002B2CF9AE}" pid="4" name="xd_ProgID">
    <vt:lpwstr/>
  </property>
  <property fmtid="{D5CDD505-2E9C-101B-9397-08002B2CF9AE}" pid="5" name="_CopySource">
    <vt:lpwstr>https://ts.accenture.com/sites/pdcdevelopmentcontrolservices/DevOps/DevOps/Training and Enablement Tower/Training Materials/DTS Bootcamp - Revised/Archived(8-2-2018)/DAY 1 -2/Selenium.pptx</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ies>
</file>